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tags/tag16.xml" ContentType="application/vnd.openxmlformats-officedocument.presentationml.tags+xml"/>
  <Override PartName="/ppt/notesSlides/notesSlide16.xml" ContentType="application/vnd.openxmlformats-officedocument.presentationml.notesSlide+xml"/>
  <Override PartName="/ppt/tags/tag17.xml" ContentType="application/vnd.openxmlformats-officedocument.presentationml.tags+xml"/>
  <Override PartName="/ppt/notesSlides/notesSlide17.xml" ContentType="application/vnd.openxmlformats-officedocument.presentationml.notesSlide+xml"/>
  <Override PartName="/ppt/tags/tag18.xml" ContentType="application/vnd.openxmlformats-officedocument.presentationml.tags+xml"/>
  <Override PartName="/ppt/notesSlides/notesSlide18.xml" ContentType="application/vnd.openxmlformats-officedocument.presentationml.notesSlide+xml"/>
  <Override PartName="/ppt/tags/tag19.xml" ContentType="application/vnd.openxmlformats-officedocument.presentationml.tags+xml"/>
  <Override PartName="/ppt/notesSlides/notesSlide19.xml" ContentType="application/vnd.openxmlformats-officedocument.presentationml.notesSlide+xml"/>
  <Override PartName="/ppt/tags/tag20.xml" ContentType="application/vnd.openxmlformats-officedocument.presentationml.tags+xml"/>
  <Override PartName="/ppt/notesSlides/notesSlide20.xml" ContentType="application/vnd.openxmlformats-officedocument.presentationml.notesSlide+xml"/>
  <Override PartName="/ppt/tags/tag21.xml" ContentType="application/vnd.openxmlformats-officedocument.presentationml.tags+xml"/>
  <Override PartName="/ppt/notesSlides/notesSlide21.xml" ContentType="application/vnd.openxmlformats-officedocument.presentationml.notesSlide+xml"/>
  <Override PartName="/ppt/tags/tag22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23.xml" ContentType="application/vnd.openxmlformats-officedocument.presentationml.tags+xml"/>
  <Override PartName="/ppt/notesSlides/notesSlide24.xml" ContentType="application/vnd.openxmlformats-officedocument.presentationml.notesSlide+xml"/>
  <Override PartName="/ppt/tags/tag24.xml" ContentType="application/vnd.openxmlformats-officedocument.presentationml.tags+xml"/>
  <Override PartName="/ppt/notesSlides/notesSlide25.xml" ContentType="application/vnd.openxmlformats-officedocument.presentationml.notesSlide+xml"/>
  <Override PartName="/ppt/tags/tag25.xml" ContentType="application/vnd.openxmlformats-officedocument.presentationml.tags+xml"/>
  <Override PartName="/ppt/notesSlides/notesSlide26.xml" ContentType="application/vnd.openxmlformats-officedocument.presentationml.notesSlide+xml"/>
  <Override PartName="/ppt/tags/tag26.xml" ContentType="application/vnd.openxmlformats-officedocument.presentationml.tags+xml"/>
  <Override PartName="/ppt/notesSlides/notesSlide27.xml" ContentType="application/vnd.openxmlformats-officedocument.presentationml.notesSlide+xml"/>
  <Override PartName="/ppt/tags/tag27.xml" ContentType="application/vnd.openxmlformats-officedocument.presentationml.tags+xml"/>
  <Override PartName="/ppt/notesSlides/notesSlide28.xml" ContentType="application/vnd.openxmlformats-officedocument.presentationml.notesSlide+xml"/>
  <Override PartName="/ppt/tags/tag28.xml" ContentType="application/vnd.openxmlformats-officedocument.presentationml.tags+xml"/>
  <Override PartName="/ppt/notesSlides/notesSlide29.xml" ContentType="application/vnd.openxmlformats-officedocument.presentationml.notesSlide+xml"/>
  <Override PartName="/ppt/tags/tag29.xml" ContentType="application/vnd.openxmlformats-officedocument.presentationml.tag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tags/tag30.xml" ContentType="application/vnd.openxmlformats-officedocument.presentationml.tags+xml"/>
  <Override PartName="/ppt/notesSlides/notesSlide3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9"/>
  </p:notesMasterIdLst>
  <p:sldIdLst>
    <p:sldId id="564" r:id="rId5"/>
    <p:sldId id="266" r:id="rId6"/>
    <p:sldId id="531" r:id="rId7"/>
    <p:sldId id="571" r:id="rId8"/>
    <p:sldId id="583" r:id="rId9"/>
    <p:sldId id="589" r:id="rId10"/>
    <p:sldId id="585" r:id="rId11"/>
    <p:sldId id="590" r:id="rId12"/>
    <p:sldId id="584" r:id="rId13"/>
    <p:sldId id="591" r:id="rId14"/>
    <p:sldId id="586" r:id="rId15"/>
    <p:sldId id="592" r:id="rId16"/>
    <p:sldId id="578" r:id="rId17"/>
    <p:sldId id="588" r:id="rId18"/>
    <p:sldId id="565" r:id="rId19"/>
    <p:sldId id="572" r:id="rId20"/>
    <p:sldId id="581" r:id="rId21"/>
    <p:sldId id="587" r:id="rId22"/>
    <p:sldId id="594" r:id="rId23"/>
    <p:sldId id="593" r:id="rId24"/>
    <p:sldId id="573" r:id="rId25"/>
    <p:sldId id="595" r:id="rId26"/>
    <p:sldId id="596" r:id="rId27"/>
    <p:sldId id="566" r:id="rId28"/>
    <p:sldId id="551" r:id="rId29"/>
    <p:sldId id="575" r:id="rId30"/>
    <p:sldId id="576" r:id="rId31"/>
    <p:sldId id="577" r:id="rId32"/>
    <p:sldId id="580" r:id="rId33"/>
    <p:sldId id="579" r:id="rId34"/>
    <p:sldId id="550" r:id="rId35"/>
    <p:sldId id="569" r:id="rId36"/>
    <p:sldId id="521" r:id="rId37"/>
    <p:sldId id="308" r:id="rId38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5E048C3B-C860-0946-B8EB-EEA370C0C245}">
          <p14:sldIdLst>
            <p14:sldId id="564"/>
            <p14:sldId id="266"/>
            <p14:sldId id="531"/>
            <p14:sldId id="571"/>
            <p14:sldId id="583"/>
            <p14:sldId id="589"/>
            <p14:sldId id="585"/>
            <p14:sldId id="590"/>
            <p14:sldId id="584"/>
            <p14:sldId id="591"/>
            <p14:sldId id="586"/>
            <p14:sldId id="592"/>
            <p14:sldId id="578"/>
            <p14:sldId id="588"/>
            <p14:sldId id="565"/>
            <p14:sldId id="572"/>
            <p14:sldId id="581"/>
            <p14:sldId id="587"/>
            <p14:sldId id="594"/>
            <p14:sldId id="593"/>
            <p14:sldId id="573"/>
            <p14:sldId id="595"/>
            <p14:sldId id="596"/>
            <p14:sldId id="566"/>
            <p14:sldId id="551"/>
            <p14:sldId id="575"/>
            <p14:sldId id="576"/>
            <p14:sldId id="577"/>
            <p14:sldId id="580"/>
            <p14:sldId id="579"/>
            <p14:sldId id="550"/>
            <p14:sldId id="569"/>
            <p14:sldId id="521"/>
            <p14:sldId id="30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338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546A"/>
    <a:srgbClr val="33699A"/>
    <a:srgbClr val="113F67"/>
    <a:srgbClr val="757BE6"/>
    <a:srgbClr val="E4D456"/>
    <a:srgbClr val="F15A7F"/>
    <a:srgbClr val="89EC75"/>
    <a:srgbClr val="04529C"/>
    <a:srgbClr val="3169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D83004D-57D7-4FED-A144-AD6B3604A91F}" v="1011" dt="2020-01-15T17:14:32.839"/>
    <p1510:client id="{51553F83-1C0F-41DA-9215-9B87C4ECD764}" v="66" dt="2020-01-13T11:50:38.154"/>
    <p1510:client id="{55683CF2-F3C1-4A71-BB33-396774E5B4D1}" v="13" dt="2020-01-14T21:21:02.410"/>
    <p1510:client id="{66946E7E-D369-4415-BA61-A69B87E5B379}" v="516" dt="2020-01-13T12:24:26.549"/>
    <p1510:client id="{6A5C41F4-D5CE-41A0-A38B-FB8C862B36B0}" v="1621" dt="2020-01-14T21:49:14.382"/>
    <p1510:client id="{6FC6E936-F934-4CAF-9978-4FF4914385E3}" v="1" dt="2019-04-01T15:47:05.553"/>
    <p1510:client id="{8E179117-6154-4599-96E4-7D5129C381C3}" v="2" dt="2020-01-16T09:21:21.361"/>
    <p1510:client id="{BB906ADF-AB14-4CF1-A6A5-B4D24E7860C2}" v="5249" dt="2020-01-15T11:43:37.602"/>
    <p1510:client id="{CD569C9F-15FE-42A5-B0FD-87496DCACD19}" v="162" dt="2020-01-14T18:35:50.161"/>
    <p1510:client id="{D0D61802-1C80-4C80-BB77-C271B6265087}" v="2" dt="2020-01-15T09:29:41.238"/>
    <p1510:client id="{F52298E7-D596-40EA-849E-B07C5094B641}" v="228" dt="2020-01-13T12:04:14.979"/>
    <p1510:client id="{F961F51B-FEEA-49E2-A6E4-D59D932D710A}" v="667" dt="2020-01-14T18:33:26.2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47"/>
    <p:restoredTop sz="94577"/>
  </p:normalViewPr>
  <p:slideViewPr>
    <p:cSldViewPr snapToGrid="0">
      <p:cViewPr varScale="1">
        <p:scale>
          <a:sx n="116" d="100"/>
          <a:sy n="116" d="100"/>
        </p:scale>
        <p:origin x="512" y="88"/>
      </p:cViewPr>
      <p:guideLst>
        <p:guide orient="horz" pos="2160"/>
        <p:guide pos="3840"/>
        <p:guide orient="horz" pos="3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20" Type="http://schemas.openxmlformats.org/officeDocument/2006/relationships/slide" Target="slides/slide16.xml"/><Relationship Id="rId41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Amores Alvarez" userId="S::damoresa@everis.com::ff5997fe-a964-45d1-b9c2-852633b5230a" providerId="AD" clId="Web-{D0D61802-1C80-4C80-BB77-C271B6265087}"/>
    <pc:docChg chg="modSld">
      <pc:chgData name="Daniel Amores Alvarez" userId="S::damoresa@everis.com::ff5997fe-a964-45d1-b9c2-852633b5230a" providerId="AD" clId="Web-{D0D61802-1C80-4C80-BB77-C271B6265087}" dt="2020-01-15T09:29:41.238" v="1" actId="20577"/>
      <pc:docMkLst>
        <pc:docMk/>
      </pc:docMkLst>
      <pc:sldChg chg="modSp">
        <pc:chgData name="Daniel Amores Alvarez" userId="S::damoresa@everis.com::ff5997fe-a964-45d1-b9c2-852633b5230a" providerId="AD" clId="Web-{D0D61802-1C80-4C80-BB77-C271B6265087}" dt="2020-01-15T09:29:41.238" v="1" actId="20577"/>
        <pc:sldMkLst>
          <pc:docMk/>
          <pc:sldMk cId="4162823876" sldId="551"/>
        </pc:sldMkLst>
        <pc:spChg chg="mod">
          <ac:chgData name="Daniel Amores Alvarez" userId="S::damoresa@everis.com::ff5997fe-a964-45d1-b9c2-852633b5230a" providerId="AD" clId="Web-{D0D61802-1C80-4C80-BB77-C271B6265087}" dt="2020-01-15T09:29:41.238" v="1" actId="20577"/>
          <ac:spMkLst>
            <pc:docMk/>
            <pc:sldMk cId="4162823876" sldId="551"/>
            <ac:spMk id="15" creationId="{7BD50C13-A712-406E-8E16-C9230DE49BA2}"/>
          </ac:spMkLst>
        </pc:spChg>
      </pc:sldChg>
    </pc:docChg>
  </pc:docChgLst>
  <pc:docChgLst>
    <pc:chgData name="Daniel Amores Alvarez" userId="S::damoresa@everis.com::ff5997fe-a964-45d1-b9c2-852633b5230a" providerId="AD" clId="Web-{51553F83-1C0F-41DA-9215-9B87C4ECD764}"/>
    <pc:docChg chg="modSld">
      <pc:chgData name="Daniel Amores Alvarez" userId="S::damoresa@everis.com::ff5997fe-a964-45d1-b9c2-852633b5230a" providerId="AD" clId="Web-{51553F83-1C0F-41DA-9215-9B87C4ECD764}" dt="2020-01-13T11:50:38.154" v="60" actId="20577"/>
      <pc:docMkLst>
        <pc:docMk/>
      </pc:docMkLst>
      <pc:sldChg chg="modSp">
        <pc:chgData name="Daniel Amores Alvarez" userId="S::damoresa@everis.com::ff5997fe-a964-45d1-b9c2-852633b5230a" providerId="AD" clId="Web-{51553F83-1C0F-41DA-9215-9B87C4ECD764}" dt="2020-01-13T11:50:38.154" v="59" actId="20577"/>
        <pc:sldMkLst>
          <pc:docMk/>
          <pc:sldMk cId="1863133937" sldId="477"/>
        </pc:sldMkLst>
        <pc:spChg chg="mod">
          <ac:chgData name="Daniel Amores Alvarez" userId="S::damoresa@everis.com::ff5997fe-a964-45d1-b9c2-852633b5230a" providerId="AD" clId="Web-{51553F83-1C0F-41DA-9215-9B87C4ECD764}" dt="2020-01-13T11:50:22.045" v="49" actId="20577"/>
          <ac:spMkLst>
            <pc:docMk/>
            <pc:sldMk cId="1863133937" sldId="477"/>
            <ac:spMk id="5" creationId="{00000000-0000-0000-0000-000000000000}"/>
          </ac:spMkLst>
        </pc:spChg>
        <pc:spChg chg="mod">
          <ac:chgData name="Daniel Amores Alvarez" userId="S::damoresa@everis.com::ff5997fe-a964-45d1-b9c2-852633b5230a" providerId="AD" clId="Web-{51553F83-1C0F-41DA-9215-9B87C4ECD764}" dt="2020-01-13T11:50:04.889" v="43" actId="20577"/>
          <ac:spMkLst>
            <pc:docMk/>
            <pc:sldMk cId="1863133937" sldId="477"/>
            <ac:spMk id="11" creationId="{00000000-0000-0000-0000-000000000000}"/>
          </ac:spMkLst>
        </pc:spChg>
        <pc:spChg chg="mod">
          <ac:chgData name="Daniel Amores Alvarez" userId="S::damoresa@everis.com::ff5997fe-a964-45d1-b9c2-852633b5230a" providerId="AD" clId="Web-{51553F83-1C0F-41DA-9215-9B87C4ECD764}" dt="2020-01-13T11:50:38.154" v="59" actId="20577"/>
          <ac:spMkLst>
            <pc:docMk/>
            <pc:sldMk cId="1863133937" sldId="477"/>
            <ac:spMk id="12" creationId="{C0FD4F4F-0130-4D9C-8FD2-DC97ED6CEC02}"/>
          </ac:spMkLst>
        </pc:spChg>
      </pc:sldChg>
    </pc:docChg>
  </pc:docChgLst>
  <pc:docChgLst>
    <pc:chgData name="Daniel Amores Alvarez" userId="S::damoresa@everis.com::ff5997fe-a964-45d1-b9c2-852633b5230a" providerId="AD" clId="Web-{F961F51B-FEEA-49E2-A6E4-D59D932D710A}"/>
    <pc:docChg chg="modSld">
      <pc:chgData name="Daniel Amores Alvarez" userId="S::damoresa@everis.com::ff5997fe-a964-45d1-b9c2-852633b5230a" providerId="AD" clId="Web-{F961F51B-FEEA-49E2-A6E4-D59D932D710A}" dt="2020-01-14T18:33:26.265" v="666" actId="20577"/>
      <pc:docMkLst>
        <pc:docMk/>
      </pc:docMkLst>
      <pc:sldChg chg="modSp">
        <pc:chgData name="Daniel Amores Alvarez" userId="S::damoresa@everis.com::ff5997fe-a964-45d1-b9c2-852633b5230a" providerId="AD" clId="Web-{F961F51B-FEEA-49E2-A6E4-D59D932D710A}" dt="2020-01-14T18:33:26.265" v="666" actId="20577"/>
        <pc:sldMkLst>
          <pc:docMk/>
          <pc:sldMk cId="616148466" sldId="531"/>
        </pc:sldMkLst>
        <pc:spChg chg="mod">
          <ac:chgData name="Daniel Amores Alvarez" userId="S::damoresa@everis.com::ff5997fe-a964-45d1-b9c2-852633b5230a" providerId="AD" clId="Web-{F961F51B-FEEA-49E2-A6E4-D59D932D710A}" dt="2020-01-14T18:33:26.265" v="666" actId="20577"/>
          <ac:spMkLst>
            <pc:docMk/>
            <pc:sldMk cId="616148466" sldId="531"/>
            <ac:spMk id="15" creationId="{7BD50C13-A712-406E-8E16-C9230DE49BA2}"/>
          </ac:spMkLst>
        </pc:spChg>
      </pc:sldChg>
    </pc:docChg>
  </pc:docChgLst>
  <pc:docChgLst>
    <pc:chgData name="Daniel Amores Alvarez" userId="S::damoresa@everis.com::ff5997fe-a964-45d1-b9c2-852633b5230a" providerId="AD" clId="Web-{CD569C9F-15FE-42A5-B0FD-87496DCACD19}"/>
    <pc:docChg chg="modSld">
      <pc:chgData name="Daniel Amores Alvarez" userId="S::damoresa@everis.com::ff5997fe-a964-45d1-b9c2-852633b5230a" providerId="AD" clId="Web-{CD569C9F-15FE-42A5-B0FD-87496DCACD19}" dt="2020-01-14T18:35:50.161" v="161" actId="20577"/>
      <pc:docMkLst>
        <pc:docMk/>
      </pc:docMkLst>
      <pc:sldChg chg="modSp">
        <pc:chgData name="Daniel Amores Alvarez" userId="S::damoresa@everis.com::ff5997fe-a964-45d1-b9c2-852633b5230a" providerId="AD" clId="Web-{CD569C9F-15FE-42A5-B0FD-87496DCACD19}" dt="2020-01-14T18:35:50.161" v="161" actId="20577"/>
        <pc:sldMkLst>
          <pc:docMk/>
          <pc:sldMk cId="616148466" sldId="531"/>
        </pc:sldMkLst>
        <pc:spChg chg="mod">
          <ac:chgData name="Daniel Amores Alvarez" userId="S::damoresa@everis.com::ff5997fe-a964-45d1-b9c2-852633b5230a" providerId="AD" clId="Web-{CD569C9F-15FE-42A5-B0FD-87496DCACD19}" dt="2020-01-14T18:35:50.161" v="161" actId="20577"/>
          <ac:spMkLst>
            <pc:docMk/>
            <pc:sldMk cId="616148466" sldId="531"/>
            <ac:spMk id="15" creationId="{7BD50C13-A712-406E-8E16-C9230DE49BA2}"/>
          </ac:spMkLst>
        </pc:spChg>
      </pc:sldChg>
    </pc:docChg>
  </pc:docChgLst>
  <pc:docChgLst>
    <pc:chgData name="Daniel Amores Alvarez" userId="S::damoresa@everis.com::ff5997fe-a964-45d1-b9c2-852633b5230a" providerId="AD" clId="Web-{8E179117-6154-4599-96E4-7D5129C381C3}"/>
    <pc:docChg chg="modSld">
      <pc:chgData name="Daniel Amores Alvarez" userId="S::damoresa@everis.com::ff5997fe-a964-45d1-b9c2-852633b5230a" providerId="AD" clId="Web-{8E179117-6154-4599-96E4-7D5129C381C3}" dt="2020-01-16T09:21:21.361" v="1" actId="20577"/>
      <pc:docMkLst>
        <pc:docMk/>
      </pc:docMkLst>
      <pc:sldChg chg="modSp">
        <pc:chgData name="Daniel Amores Alvarez" userId="S::damoresa@everis.com::ff5997fe-a964-45d1-b9c2-852633b5230a" providerId="AD" clId="Web-{8E179117-6154-4599-96E4-7D5129C381C3}" dt="2020-01-16T09:21:21.361" v="1" actId="20577"/>
        <pc:sldMkLst>
          <pc:docMk/>
          <pc:sldMk cId="1791240125" sldId="542"/>
        </pc:sldMkLst>
        <pc:spChg chg="mod">
          <ac:chgData name="Daniel Amores Alvarez" userId="S::damoresa@everis.com::ff5997fe-a964-45d1-b9c2-852633b5230a" providerId="AD" clId="Web-{8E179117-6154-4599-96E4-7D5129C381C3}" dt="2020-01-16T09:21:21.361" v="1" actId="20577"/>
          <ac:spMkLst>
            <pc:docMk/>
            <pc:sldMk cId="1791240125" sldId="542"/>
            <ac:spMk id="16" creationId="{6909A535-8C53-4A37-B3E0-FC6F7A28423E}"/>
          </ac:spMkLst>
        </pc:spChg>
      </pc:sldChg>
    </pc:docChg>
  </pc:docChgLst>
  <pc:docChgLst>
    <pc:chgData name="Daniel Amores Alvarez" userId="S::damoresa@everis.com::ff5997fe-a964-45d1-b9c2-852633b5230a" providerId="AD" clId="Web-{0D83004D-57D7-4FED-A144-AD6B3604A91F}"/>
    <pc:docChg chg="addSld modSld sldOrd modSection">
      <pc:chgData name="Daniel Amores Alvarez" userId="S::damoresa@everis.com::ff5997fe-a964-45d1-b9c2-852633b5230a" providerId="AD" clId="Web-{0D83004D-57D7-4FED-A144-AD6B3604A91F}" dt="2020-01-15T17:14:31.886" v="992" actId="20577"/>
      <pc:docMkLst>
        <pc:docMk/>
      </pc:docMkLst>
      <pc:sldChg chg="modSp">
        <pc:chgData name="Daniel Amores Alvarez" userId="S::damoresa@everis.com::ff5997fe-a964-45d1-b9c2-852633b5230a" providerId="AD" clId="Web-{0D83004D-57D7-4FED-A144-AD6B3604A91F}" dt="2020-01-15T17:14:31.886" v="992" actId="20577"/>
        <pc:sldMkLst>
          <pc:docMk/>
          <pc:sldMk cId="4162823876" sldId="551"/>
        </pc:sldMkLst>
        <pc:spChg chg="mod">
          <ac:chgData name="Daniel Amores Alvarez" userId="S::damoresa@everis.com::ff5997fe-a964-45d1-b9c2-852633b5230a" providerId="AD" clId="Web-{0D83004D-57D7-4FED-A144-AD6B3604A91F}" dt="2020-01-15T17:14:31.886" v="992" actId="20577"/>
          <ac:spMkLst>
            <pc:docMk/>
            <pc:sldMk cId="4162823876" sldId="551"/>
            <ac:spMk id="14" creationId="{DAACDC37-73F8-46F5-AA87-000E75188D38}"/>
          </ac:spMkLst>
        </pc:spChg>
      </pc:sldChg>
      <pc:sldChg chg="modSp">
        <pc:chgData name="Daniel Amores Alvarez" userId="S::damoresa@everis.com::ff5997fe-a964-45d1-b9c2-852633b5230a" providerId="AD" clId="Web-{0D83004D-57D7-4FED-A144-AD6B3604A91F}" dt="2020-01-15T17:14:22.589" v="990" actId="20577"/>
        <pc:sldMkLst>
          <pc:docMk/>
          <pc:sldMk cId="3125120265" sldId="557"/>
        </pc:sldMkLst>
        <pc:spChg chg="mod">
          <ac:chgData name="Daniel Amores Alvarez" userId="S::damoresa@everis.com::ff5997fe-a964-45d1-b9c2-852633b5230a" providerId="AD" clId="Web-{0D83004D-57D7-4FED-A144-AD6B3604A91F}" dt="2020-01-15T17:14:22.589" v="990" actId="20577"/>
          <ac:spMkLst>
            <pc:docMk/>
            <pc:sldMk cId="3125120265" sldId="557"/>
            <ac:spMk id="14" creationId="{DAACDC37-73F8-46F5-AA87-000E75188D38}"/>
          </ac:spMkLst>
        </pc:spChg>
      </pc:sldChg>
      <pc:sldChg chg="addSp delSp modSp">
        <pc:chgData name="Daniel Amores Alvarez" userId="S::damoresa@everis.com::ff5997fe-a964-45d1-b9c2-852633b5230a" providerId="AD" clId="Web-{0D83004D-57D7-4FED-A144-AD6B3604A91F}" dt="2020-01-15T17:13:42.402" v="984" actId="20577"/>
        <pc:sldMkLst>
          <pc:docMk/>
          <pc:sldMk cId="1849465173" sldId="560"/>
        </pc:sldMkLst>
        <pc:spChg chg="add mod">
          <ac:chgData name="Daniel Amores Alvarez" userId="S::damoresa@everis.com::ff5997fe-a964-45d1-b9c2-852633b5230a" providerId="AD" clId="Web-{0D83004D-57D7-4FED-A144-AD6B3604A91F}" dt="2020-01-15T17:13:42.402" v="984" actId="20577"/>
          <ac:spMkLst>
            <pc:docMk/>
            <pc:sldMk cId="1849465173" sldId="560"/>
            <ac:spMk id="3" creationId="{AE9EED95-F57B-422D-8784-B21DCAFEB00C}"/>
          </ac:spMkLst>
        </pc:spChg>
        <pc:spChg chg="mod">
          <ac:chgData name="Daniel Amores Alvarez" userId="S::damoresa@everis.com::ff5997fe-a964-45d1-b9c2-852633b5230a" providerId="AD" clId="Web-{0D83004D-57D7-4FED-A144-AD6B3604A91F}" dt="2020-01-15T17:11:44.356" v="913" actId="20577"/>
          <ac:spMkLst>
            <pc:docMk/>
            <pc:sldMk cId="1849465173" sldId="560"/>
            <ac:spMk id="15" creationId="{7BD50C13-A712-406E-8E16-C9230DE49BA2}"/>
          </ac:spMkLst>
        </pc:spChg>
        <pc:spChg chg="del">
          <ac:chgData name="Daniel Amores Alvarez" userId="S::damoresa@everis.com::ff5997fe-a964-45d1-b9c2-852633b5230a" providerId="AD" clId="Web-{0D83004D-57D7-4FED-A144-AD6B3604A91F}" dt="2020-01-15T17:01:29.908" v="566"/>
          <ac:spMkLst>
            <pc:docMk/>
            <pc:sldMk cId="1849465173" sldId="560"/>
            <ac:spMk id="17" creationId="{B28DACAC-C5B4-4FA2-9AE3-A474659D6BE1}"/>
          </ac:spMkLst>
        </pc:spChg>
        <pc:picChg chg="add del">
          <ac:chgData name="Daniel Amores Alvarez" userId="S::damoresa@everis.com::ff5997fe-a964-45d1-b9c2-852633b5230a" providerId="AD" clId="Web-{0D83004D-57D7-4FED-A144-AD6B3604A91F}" dt="2020-01-15T17:05:39.203" v="677"/>
          <ac:picMkLst>
            <pc:docMk/>
            <pc:sldMk cId="1849465173" sldId="560"/>
            <ac:picMk id="2" creationId="{7F55F897-ECF8-46CD-882C-45FF74FBAEBA}"/>
          </ac:picMkLst>
        </pc:picChg>
      </pc:sldChg>
      <pc:sldChg chg="modSp">
        <pc:chgData name="Daniel Amores Alvarez" userId="S::damoresa@everis.com::ff5997fe-a964-45d1-b9c2-852633b5230a" providerId="AD" clId="Web-{0D83004D-57D7-4FED-A144-AD6B3604A91F}" dt="2020-01-15T17:04:07.860" v="596" actId="20577"/>
        <pc:sldMkLst>
          <pc:docMk/>
          <pc:sldMk cId="3524603006" sldId="562"/>
        </pc:sldMkLst>
        <pc:spChg chg="mod">
          <ac:chgData name="Daniel Amores Alvarez" userId="S::damoresa@everis.com::ff5997fe-a964-45d1-b9c2-852633b5230a" providerId="AD" clId="Web-{0D83004D-57D7-4FED-A144-AD6B3604A91F}" dt="2020-01-15T17:03:46.657" v="581" actId="14100"/>
          <ac:spMkLst>
            <pc:docMk/>
            <pc:sldMk cId="3524603006" sldId="562"/>
            <ac:spMk id="7" creationId="{22E21FF4-5B34-4EBC-9C72-A062D754DE6E}"/>
          </ac:spMkLst>
        </pc:spChg>
        <pc:spChg chg="mod">
          <ac:chgData name="Daniel Amores Alvarez" userId="S::damoresa@everis.com::ff5997fe-a964-45d1-b9c2-852633b5230a" providerId="AD" clId="Web-{0D83004D-57D7-4FED-A144-AD6B3604A91F}" dt="2020-01-15T17:04:07.860" v="596" actId="20577"/>
          <ac:spMkLst>
            <pc:docMk/>
            <pc:sldMk cId="3524603006" sldId="562"/>
            <ac:spMk id="8" creationId="{93105E4B-6DA7-4CFA-8164-A8D48B445BA4}"/>
          </ac:spMkLst>
        </pc:spChg>
        <pc:spChg chg="mod">
          <ac:chgData name="Daniel Amores Alvarez" userId="S::damoresa@everis.com::ff5997fe-a964-45d1-b9c2-852633b5230a" providerId="AD" clId="Web-{0D83004D-57D7-4FED-A144-AD6B3604A91F}" dt="2020-01-15T17:03:44.172" v="580" actId="14100"/>
          <ac:spMkLst>
            <pc:docMk/>
            <pc:sldMk cId="3524603006" sldId="562"/>
            <ac:spMk id="9" creationId="{DC1B2ADF-5902-43F8-AB17-7A5E9D974193}"/>
          </ac:spMkLst>
        </pc:spChg>
      </pc:sldChg>
      <pc:sldChg chg="delSp modSp add ord replId">
        <pc:chgData name="Daniel Amores Alvarez" userId="S::damoresa@everis.com::ff5997fe-a964-45d1-b9c2-852633b5230a" providerId="AD" clId="Web-{0D83004D-57D7-4FED-A144-AD6B3604A91F}" dt="2020-01-15T17:01:40.282" v="569"/>
        <pc:sldMkLst>
          <pc:docMk/>
          <pc:sldMk cId="42756512" sldId="563"/>
        </pc:sldMkLst>
        <pc:spChg chg="mod">
          <ac:chgData name="Daniel Amores Alvarez" userId="S::damoresa@everis.com::ff5997fe-a964-45d1-b9c2-852633b5230a" providerId="AD" clId="Web-{0D83004D-57D7-4FED-A144-AD6B3604A91F}" dt="2020-01-15T17:01:37.095" v="568" actId="20577"/>
          <ac:spMkLst>
            <pc:docMk/>
            <pc:sldMk cId="42756512" sldId="563"/>
            <ac:spMk id="15" creationId="{7BD50C13-A712-406E-8E16-C9230DE49BA2}"/>
          </ac:spMkLst>
        </pc:spChg>
        <pc:spChg chg="del">
          <ac:chgData name="Daniel Amores Alvarez" userId="S::damoresa@everis.com::ff5997fe-a964-45d1-b9c2-852633b5230a" providerId="AD" clId="Web-{0D83004D-57D7-4FED-A144-AD6B3604A91F}" dt="2020-01-15T17:01:33.736" v="567"/>
          <ac:spMkLst>
            <pc:docMk/>
            <pc:sldMk cId="42756512" sldId="563"/>
            <ac:spMk id="17" creationId="{B28DACAC-C5B4-4FA2-9AE3-A474659D6BE1}"/>
          </ac:spMkLst>
        </pc:spChg>
      </pc:sldChg>
    </pc:docChg>
  </pc:docChgLst>
  <pc:docChgLst>
    <pc:chgData name="Daniel Amores Alvarez" userId="S::damoresa@everis.com::ff5997fe-a964-45d1-b9c2-852633b5230a" providerId="AD" clId="Web-{6A5C41F4-D5CE-41A0-A38B-FB8C862B36B0}"/>
    <pc:docChg chg="addSld modSld modSection">
      <pc:chgData name="Daniel Amores Alvarez" userId="S::damoresa@everis.com::ff5997fe-a964-45d1-b9c2-852633b5230a" providerId="AD" clId="Web-{6A5C41F4-D5CE-41A0-A38B-FB8C862B36B0}" dt="2020-01-14T21:49:13.632" v="1604" actId="20577"/>
      <pc:docMkLst>
        <pc:docMk/>
      </pc:docMkLst>
      <pc:sldChg chg="modSp">
        <pc:chgData name="Daniel Amores Alvarez" userId="S::damoresa@everis.com::ff5997fe-a964-45d1-b9c2-852633b5230a" providerId="AD" clId="Web-{6A5C41F4-D5CE-41A0-A38B-FB8C862B36B0}" dt="2020-01-14T21:48:54.226" v="1549" actId="20577"/>
        <pc:sldMkLst>
          <pc:docMk/>
          <pc:sldMk cId="924214621" sldId="266"/>
        </pc:sldMkLst>
        <pc:spChg chg="mod">
          <ac:chgData name="Daniel Amores Alvarez" userId="S::damoresa@everis.com::ff5997fe-a964-45d1-b9c2-852633b5230a" providerId="AD" clId="Web-{6A5C41F4-D5CE-41A0-A38B-FB8C862B36B0}" dt="2020-01-14T21:48:54.226" v="1549" actId="20577"/>
          <ac:spMkLst>
            <pc:docMk/>
            <pc:sldMk cId="924214621" sldId="266"/>
            <ac:spMk id="46" creationId="{00000000-0000-0000-0000-000000000000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36:14.934" v="910" actId="20577"/>
        <pc:sldMkLst>
          <pc:docMk/>
          <pc:sldMk cId="1791240125" sldId="542"/>
        </pc:sldMkLst>
        <pc:spChg chg="mod">
          <ac:chgData name="Daniel Amores Alvarez" userId="S::damoresa@everis.com::ff5997fe-a964-45d1-b9c2-852633b5230a" providerId="AD" clId="Web-{6A5C41F4-D5CE-41A0-A38B-FB8C862B36B0}" dt="2020-01-14T21:36:14.934" v="910" actId="20577"/>
          <ac:spMkLst>
            <pc:docMk/>
            <pc:sldMk cId="1791240125" sldId="542"/>
            <ac:spMk id="16" creationId="{6909A535-8C53-4A37-B3E0-FC6F7A28423E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37:28.027" v="1017" actId="20577"/>
        <pc:sldMkLst>
          <pc:docMk/>
          <pc:sldMk cId="2086390204" sldId="543"/>
        </pc:sldMkLst>
        <pc:spChg chg="mod">
          <ac:chgData name="Daniel Amores Alvarez" userId="S::damoresa@everis.com::ff5997fe-a964-45d1-b9c2-852633b5230a" providerId="AD" clId="Web-{6A5C41F4-D5CE-41A0-A38B-FB8C862B36B0}" dt="2020-01-14T21:37:28.027" v="1017" actId="20577"/>
          <ac:spMkLst>
            <pc:docMk/>
            <pc:sldMk cId="2086390204" sldId="543"/>
            <ac:spMk id="15" creationId="{7BD50C13-A712-406E-8E16-C9230DE49BA2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48:48.820" v="1543" actId="20577"/>
        <pc:sldMkLst>
          <pc:docMk/>
          <pc:sldMk cId="1819518269" sldId="544"/>
        </pc:sldMkLst>
        <pc:spChg chg="mod">
          <ac:chgData name="Daniel Amores Alvarez" userId="S::damoresa@everis.com::ff5997fe-a964-45d1-b9c2-852633b5230a" providerId="AD" clId="Web-{6A5C41F4-D5CE-41A0-A38B-FB8C862B36B0}" dt="2020-01-14T21:48:48.820" v="1543" actId="20577"/>
          <ac:spMkLst>
            <pc:docMk/>
            <pc:sldMk cId="1819518269" sldId="544"/>
            <ac:spMk id="46" creationId="{00000000-0000-0000-0000-000000000000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45:50.632" v="1352" actId="20577"/>
        <pc:sldMkLst>
          <pc:docMk/>
          <pc:sldMk cId="2508201071" sldId="545"/>
        </pc:sldMkLst>
        <pc:spChg chg="mod">
          <ac:chgData name="Daniel Amores Alvarez" userId="S::damoresa@everis.com::ff5997fe-a964-45d1-b9c2-852633b5230a" providerId="AD" clId="Web-{6A5C41F4-D5CE-41A0-A38B-FB8C862B36B0}" dt="2020-01-14T21:45:50.632" v="1352" actId="20577"/>
          <ac:spMkLst>
            <pc:docMk/>
            <pc:sldMk cId="2508201071" sldId="545"/>
            <ac:spMk id="46" creationId="{00000000-0000-0000-0000-000000000000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49:13.632" v="1603" actId="20577"/>
        <pc:sldMkLst>
          <pc:docMk/>
          <pc:sldMk cId="588513800" sldId="546"/>
        </pc:sldMkLst>
        <pc:spChg chg="mod">
          <ac:chgData name="Daniel Amores Alvarez" userId="S::damoresa@everis.com::ff5997fe-a964-45d1-b9c2-852633b5230a" providerId="AD" clId="Web-{6A5C41F4-D5CE-41A0-A38B-FB8C862B36B0}" dt="2020-01-14T21:49:13.632" v="1603" actId="20577"/>
          <ac:spMkLst>
            <pc:docMk/>
            <pc:sldMk cId="588513800" sldId="546"/>
            <ac:spMk id="46" creationId="{00000000-0000-0000-0000-000000000000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49:01.289" v="1573" actId="20577"/>
        <pc:sldMkLst>
          <pc:docMk/>
          <pc:sldMk cId="4278879172" sldId="547"/>
        </pc:sldMkLst>
        <pc:spChg chg="mod">
          <ac:chgData name="Daniel Amores Alvarez" userId="S::damoresa@everis.com::ff5997fe-a964-45d1-b9c2-852633b5230a" providerId="AD" clId="Web-{6A5C41F4-D5CE-41A0-A38B-FB8C862B36B0}" dt="2020-01-14T21:49:01.289" v="1573" actId="20577"/>
          <ac:spMkLst>
            <pc:docMk/>
            <pc:sldMk cId="4278879172" sldId="547"/>
            <ac:spMk id="46" creationId="{00000000-0000-0000-0000-000000000000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49:08.148" v="1579" actId="20577"/>
        <pc:sldMkLst>
          <pc:docMk/>
          <pc:sldMk cId="3976969057" sldId="549"/>
        </pc:sldMkLst>
        <pc:spChg chg="mod">
          <ac:chgData name="Daniel Amores Alvarez" userId="S::damoresa@everis.com::ff5997fe-a964-45d1-b9c2-852633b5230a" providerId="AD" clId="Web-{6A5C41F4-D5CE-41A0-A38B-FB8C862B36B0}" dt="2020-01-14T21:49:08.148" v="1579" actId="20577"/>
          <ac:spMkLst>
            <pc:docMk/>
            <pc:sldMk cId="3976969057" sldId="549"/>
            <ac:spMk id="46" creationId="{00000000-0000-0000-0000-000000000000}"/>
          </ac:spMkLst>
        </pc:spChg>
      </pc:sldChg>
      <pc:sldChg chg="modSp">
        <pc:chgData name="Daniel Amores Alvarez" userId="S::damoresa@everis.com::ff5997fe-a964-45d1-b9c2-852633b5230a" providerId="AD" clId="Web-{6A5C41F4-D5CE-41A0-A38B-FB8C862B36B0}" dt="2020-01-14T21:46:02.273" v="1413" actId="20577"/>
        <pc:sldMkLst>
          <pc:docMk/>
          <pc:sldMk cId="60774363" sldId="550"/>
        </pc:sldMkLst>
        <pc:spChg chg="mod">
          <ac:chgData name="Daniel Amores Alvarez" userId="S::damoresa@everis.com::ff5997fe-a964-45d1-b9c2-852633b5230a" providerId="AD" clId="Web-{6A5C41F4-D5CE-41A0-A38B-FB8C862B36B0}" dt="2020-01-14T21:46:02.273" v="1413" actId="20577"/>
          <ac:spMkLst>
            <pc:docMk/>
            <pc:sldMk cId="60774363" sldId="550"/>
            <ac:spMk id="46" creationId="{00000000-0000-0000-0000-000000000000}"/>
          </ac:spMkLst>
        </pc:spChg>
      </pc:sldChg>
      <pc:sldChg chg="addSp modSp">
        <pc:chgData name="Daniel Amores Alvarez" userId="S::damoresa@everis.com::ff5997fe-a964-45d1-b9c2-852633b5230a" providerId="AD" clId="Web-{6A5C41F4-D5CE-41A0-A38B-FB8C862B36B0}" dt="2020-01-14T21:48:36.367" v="1535" actId="20577"/>
        <pc:sldMkLst>
          <pc:docMk/>
          <pc:sldMk cId="4162823876" sldId="551"/>
        </pc:sldMkLst>
        <pc:spChg chg="add mod">
          <ac:chgData name="Daniel Amores Alvarez" userId="S::damoresa@everis.com::ff5997fe-a964-45d1-b9c2-852633b5230a" providerId="AD" clId="Web-{6A5C41F4-D5CE-41A0-A38B-FB8C862B36B0}" dt="2020-01-14T21:48:36.367" v="1535" actId="20577"/>
          <ac:spMkLst>
            <pc:docMk/>
            <pc:sldMk cId="4162823876" sldId="551"/>
            <ac:spMk id="2" creationId="{8624B431-4101-47F0-BB89-3368E781A537}"/>
          </ac:spMkLst>
        </pc:spChg>
        <pc:spChg chg="mod">
          <ac:chgData name="Daniel Amores Alvarez" userId="S::damoresa@everis.com::ff5997fe-a964-45d1-b9c2-852633b5230a" providerId="AD" clId="Web-{6A5C41F4-D5CE-41A0-A38B-FB8C862B36B0}" dt="2020-01-14T21:48:32.711" v="1532" actId="20577"/>
          <ac:spMkLst>
            <pc:docMk/>
            <pc:sldMk cId="4162823876" sldId="551"/>
            <ac:spMk id="15" creationId="{7BD50C13-A712-406E-8E16-C9230DE49BA2}"/>
          </ac:spMkLst>
        </pc:spChg>
        <pc:spChg chg="mod">
          <ac:chgData name="Daniel Amores Alvarez" userId="S::damoresa@everis.com::ff5997fe-a964-45d1-b9c2-852633b5230a" providerId="AD" clId="Web-{6A5C41F4-D5CE-41A0-A38B-FB8C862B36B0}" dt="2020-01-14T21:45:53.960" v="1380" actId="20577"/>
          <ac:spMkLst>
            <pc:docMk/>
            <pc:sldMk cId="4162823876" sldId="551"/>
            <ac:spMk id="46" creationId="{00000000-0000-0000-0000-000000000000}"/>
          </ac:spMkLst>
        </pc:spChg>
      </pc:sldChg>
      <pc:sldChg chg="add replId">
        <pc:chgData name="Daniel Amores Alvarez" userId="S::damoresa@everis.com::ff5997fe-a964-45d1-b9c2-852633b5230a" providerId="AD" clId="Web-{6A5C41F4-D5CE-41A0-A38B-FB8C862B36B0}" dt="2020-01-14T21:48:09.147" v="1499"/>
        <pc:sldMkLst>
          <pc:docMk/>
          <pc:sldMk cId="2728398026" sldId="556"/>
        </pc:sldMkLst>
      </pc:sldChg>
    </pc:docChg>
  </pc:docChgLst>
  <pc:docChgLst>
    <pc:chgData name="Daniel Amores Alvarez" userId="S::damoresa@everis.com::ff5997fe-a964-45d1-b9c2-852633b5230a" providerId="AD" clId="Web-{55683CF2-F3C1-4A71-BB33-396774E5B4D1}"/>
    <pc:docChg chg="modSld">
      <pc:chgData name="Daniel Amores Alvarez" userId="S::damoresa@everis.com::ff5997fe-a964-45d1-b9c2-852633b5230a" providerId="AD" clId="Web-{55683CF2-F3C1-4A71-BB33-396774E5B4D1}" dt="2020-01-14T21:21:02.410" v="12" actId="20577"/>
      <pc:docMkLst>
        <pc:docMk/>
      </pc:docMkLst>
      <pc:sldChg chg="modSp">
        <pc:chgData name="Daniel Amores Alvarez" userId="S::damoresa@everis.com::ff5997fe-a964-45d1-b9c2-852633b5230a" providerId="AD" clId="Web-{55683CF2-F3C1-4A71-BB33-396774E5B4D1}" dt="2020-01-14T21:21:02.410" v="12" actId="20577"/>
        <pc:sldMkLst>
          <pc:docMk/>
          <pc:sldMk cId="2086390204" sldId="543"/>
        </pc:sldMkLst>
        <pc:spChg chg="mod">
          <ac:chgData name="Daniel Amores Alvarez" userId="S::damoresa@everis.com::ff5997fe-a964-45d1-b9c2-852633b5230a" providerId="AD" clId="Web-{55683CF2-F3C1-4A71-BB33-396774E5B4D1}" dt="2020-01-14T21:21:02.410" v="12" actId="20577"/>
          <ac:spMkLst>
            <pc:docMk/>
            <pc:sldMk cId="2086390204" sldId="543"/>
            <ac:spMk id="15" creationId="{7BD50C13-A712-406E-8E16-C9230DE49BA2}"/>
          </ac:spMkLst>
        </pc:spChg>
      </pc:sldChg>
    </pc:docChg>
  </pc:docChgLst>
  <pc:docChgLst>
    <pc:chgData name="Jordi Gil Nieto" userId="dc92af6d-8bfc-4cf9-a920-242e8fde7056" providerId="ADAL" clId="{6FC6E936-F934-4CAF-9978-4FF4914385E3}"/>
    <pc:docChg chg="undo redo custSel addSld delSld modSld sldOrd modSection">
      <pc:chgData name="Jordi Gil Nieto" userId="dc92af6d-8bfc-4cf9-a920-242e8fde7056" providerId="ADAL" clId="{6FC6E936-F934-4CAF-9978-4FF4914385E3}" dt="2019-05-14T20:13:59.391" v="4186" actId="313"/>
      <pc:docMkLst>
        <pc:docMk/>
      </pc:docMkLst>
      <pc:sldChg chg="modSp">
        <pc:chgData name="Jordi Gil Nieto" userId="dc92af6d-8bfc-4cf9-a920-242e8fde7056" providerId="ADAL" clId="{6FC6E936-F934-4CAF-9978-4FF4914385E3}" dt="2019-04-04T10:31:27.642" v="4159" actId="20577"/>
        <pc:sldMkLst>
          <pc:docMk/>
          <pc:sldMk cId="924214621" sldId="266"/>
        </pc:sldMkLst>
        <pc:spChg chg="mod">
          <ac:chgData name="Jordi Gil Nieto" userId="dc92af6d-8bfc-4cf9-a920-242e8fde7056" providerId="ADAL" clId="{6FC6E936-F934-4CAF-9978-4FF4914385E3}" dt="2019-04-04T10:31:27.642" v="4159" actId="20577"/>
          <ac:spMkLst>
            <pc:docMk/>
            <pc:sldMk cId="924214621" sldId="266"/>
            <ac:spMk id="46" creationId="{00000000-0000-0000-0000-000000000000}"/>
          </ac:spMkLst>
        </pc:spChg>
      </pc:sldChg>
      <pc:sldChg chg="addSp delSp modSp">
        <pc:chgData name="Jordi Gil Nieto" userId="dc92af6d-8bfc-4cf9-a920-242e8fde7056" providerId="ADAL" clId="{6FC6E936-F934-4CAF-9978-4FF4914385E3}" dt="2019-04-01T16:03:10.022" v="215" actId="14100"/>
        <pc:sldMkLst>
          <pc:docMk/>
          <pc:sldMk cId="1863133937" sldId="477"/>
        </pc:sldMkLst>
        <pc:spChg chg="add del">
          <ac:chgData name="Jordi Gil Nieto" userId="dc92af6d-8bfc-4cf9-a920-242e8fde7056" providerId="ADAL" clId="{6FC6E936-F934-4CAF-9978-4FF4914385E3}" dt="2019-04-01T15:50:39.189" v="79"/>
          <ac:spMkLst>
            <pc:docMk/>
            <pc:sldMk cId="1863133937" sldId="477"/>
            <ac:spMk id="2" creationId="{A95A7D2D-5DA1-4AD9-A176-41888A6E0AEE}"/>
          </ac:spMkLst>
        </pc:spChg>
        <pc:spChg chg="mod">
          <ac:chgData name="Jordi Gil Nieto" userId="dc92af6d-8bfc-4cf9-a920-242e8fde7056" providerId="ADAL" clId="{6FC6E936-F934-4CAF-9978-4FF4914385E3}" dt="2019-04-01T15:46:30.643" v="30" actId="403"/>
          <ac:spMkLst>
            <pc:docMk/>
            <pc:sldMk cId="1863133937" sldId="477"/>
            <ac:spMk id="5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1T15:48:08.959" v="75" actId="20577"/>
          <ac:spMkLst>
            <pc:docMk/>
            <pc:sldMk cId="1863133937" sldId="477"/>
            <ac:spMk id="11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1T15:47:28.839" v="66" actId="1036"/>
          <ac:spMkLst>
            <pc:docMk/>
            <pc:sldMk cId="1863133937" sldId="477"/>
            <ac:spMk id="12" creationId="{C0FD4F4F-0130-4D9C-8FD2-DC97ED6CEC02}"/>
          </ac:spMkLst>
        </pc:spChg>
        <pc:spChg chg="mod ord">
          <ac:chgData name="Jordi Gil Nieto" userId="dc92af6d-8bfc-4cf9-a920-242e8fde7056" providerId="ADAL" clId="{6FC6E936-F934-4CAF-9978-4FF4914385E3}" dt="2019-04-01T15:53:54.102" v="95" actId="14100"/>
          <ac:spMkLst>
            <pc:docMk/>
            <pc:sldMk cId="1863133937" sldId="477"/>
            <ac:spMk id="34" creationId="{00000000-0000-0000-0000-000000000000}"/>
          </ac:spMkLst>
        </pc:spChg>
        <pc:picChg chg="ord">
          <ac:chgData name="Jordi Gil Nieto" userId="dc92af6d-8bfc-4cf9-a920-242e8fde7056" providerId="ADAL" clId="{6FC6E936-F934-4CAF-9978-4FF4914385E3}" dt="2019-04-01T15:53:58.635" v="96" actId="166"/>
          <ac:picMkLst>
            <pc:docMk/>
            <pc:sldMk cId="1863133937" sldId="477"/>
            <ac:picMk id="18" creationId="{00000000-0000-0000-0000-000000000000}"/>
          </ac:picMkLst>
        </pc:picChg>
        <pc:picChg chg="del">
          <ac:chgData name="Jordi Gil Nieto" userId="dc92af6d-8bfc-4cf9-a920-242e8fde7056" providerId="ADAL" clId="{6FC6E936-F934-4CAF-9978-4FF4914385E3}" dt="2019-04-01T15:50:37.576" v="77" actId="478"/>
          <ac:picMkLst>
            <pc:docMk/>
            <pc:sldMk cId="1863133937" sldId="477"/>
            <ac:picMk id="19" creationId="{00000000-0000-0000-0000-000000000000}"/>
          </ac:picMkLst>
        </pc:picChg>
        <pc:picChg chg="add del mod">
          <ac:chgData name="Jordi Gil Nieto" userId="dc92af6d-8bfc-4cf9-a920-242e8fde7056" providerId="ADAL" clId="{6FC6E936-F934-4CAF-9978-4FF4914385E3}" dt="2019-04-01T15:52:10.478" v="88" actId="478"/>
          <ac:picMkLst>
            <pc:docMk/>
            <pc:sldMk cId="1863133937" sldId="477"/>
            <ac:picMk id="167938" creationId="{7311582A-0C44-4DBC-A339-BE8B75F2BE07}"/>
          </ac:picMkLst>
        </pc:picChg>
        <pc:picChg chg="add mod">
          <ac:chgData name="Jordi Gil Nieto" userId="dc92af6d-8bfc-4cf9-a920-242e8fde7056" providerId="ADAL" clId="{6FC6E936-F934-4CAF-9978-4FF4914385E3}" dt="2019-04-01T16:03:10.022" v="215" actId="14100"/>
          <ac:picMkLst>
            <pc:docMk/>
            <pc:sldMk cId="1863133937" sldId="477"/>
            <ac:picMk id="167940" creationId="{628D59FA-6D57-409B-A299-ECE5E00D026D}"/>
          </ac:picMkLst>
        </pc:picChg>
      </pc:sldChg>
      <pc:sldChg chg="addSp delSp modSp add del modNotesTx">
        <pc:chgData name="Jordi Gil Nieto" userId="dc92af6d-8bfc-4cf9-a920-242e8fde7056" providerId="ADAL" clId="{6FC6E936-F934-4CAF-9978-4FF4914385E3}" dt="2019-04-04T07:45:10.966" v="2878" actId="14100"/>
        <pc:sldMkLst>
          <pc:docMk/>
          <pc:sldMk cId="1842254415" sldId="479"/>
        </pc:sldMkLst>
        <pc:spChg chg="del">
          <ac:chgData name="Jordi Gil Nieto" userId="dc92af6d-8bfc-4cf9-a920-242e8fde7056" providerId="ADAL" clId="{6FC6E936-F934-4CAF-9978-4FF4914385E3}" dt="2019-04-01T16:11:11.255" v="247" actId="478"/>
          <ac:spMkLst>
            <pc:docMk/>
            <pc:sldMk cId="1842254415" sldId="479"/>
            <ac:spMk id="2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4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5" creationId="{00000000-0000-0000-0000-000000000000}"/>
          </ac:spMkLst>
        </pc:spChg>
        <pc:spChg chg="del mod">
          <ac:chgData name="Jordi Gil Nieto" userId="dc92af6d-8bfc-4cf9-a920-242e8fde7056" providerId="ADAL" clId="{6FC6E936-F934-4CAF-9978-4FF4914385E3}" dt="2019-04-01T16:11:05.848" v="245" actId="478"/>
          <ac:spMkLst>
            <pc:docMk/>
            <pc:sldMk cId="1842254415" sldId="479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07:45:08.542" v="2877" actId="14100"/>
          <ac:spMkLst>
            <pc:docMk/>
            <pc:sldMk cId="1842254415" sldId="479"/>
            <ac:spMk id="14" creationId="{CB0A08ED-C39A-4C5D-AF67-3044D0597F0B}"/>
          </ac:spMkLst>
        </pc:spChg>
        <pc:spChg chg="del">
          <ac:chgData name="Jordi Gil Nieto" userId="dc92af6d-8bfc-4cf9-a920-242e8fde7056" providerId="ADAL" clId="{6FC6E936-F934-4CAF-9978-4FF4914385E3}" dt="2019-04-01T16:11:11.255" v="247" actId="478"/>
          <ac:spMkLst>
            <pc:docMk/>
            <pc:sldMk cId="1842254415" sldId="479"/>
            <ac:spMk id="15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07:45:10.966" v="2878" actId="14100"/>
          <ac:spMkLst>
            <pc:docMk/>
            <pc:sldMk cId="1842254415" sldId="479"/>
            <ac:spMk id="15" creationId="{A1C9E2B1-E5FD-4A82-AFA4-2661CE1058B7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16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17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18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0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1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2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4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6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7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8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29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0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1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2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4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5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6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11:08.377" v="246" actId="478"/>
          <ac:spMkLst>
            <pc:docMk/>
            <pc:sldMk cId="1842254415" sldId="479"/>
            <ac:spMk id="37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1T16:10:56.592" v="242" actId="20577"/>
          <ac:spMkLst>
            <pc:docMk/>
            <pc:sldMk cId="1842254415" sldId="479"/>
            <ac:spMk id="46" creationId="{00000000-0000-0000-0000-000000000000}"/>
          </ac:spMkLst>
        </pc:spChg>
        <pc:spChg chg="add del">
          <ac:chgData name="Jordi Gil Nieto" userId="dc92af6d-8bfc-4cf9-a920-242e8fde7056" providerId="ADAL" clId="{6FC6E936-F934-4CAF-9978-4FF4914385E3}" dt="2019-04-01T16:11:00.568" v="243" actId="478"/>
          <ac:spMkLst>
            <pc:docMk/>
            <pc:sldMk cId="1842254415" sldId="479"/>
            <ac:spMk id="47" creationId="{00000000-0000-0000-0000-000000000000}"/>
          </ac:spMkLst>
        </pc:spChg>
        <pc:picChg chg="add mod">
          <ac:chgData name="Jordi Gil Nieto" userId="dc92af6d-8bfc-4cf9-a920-242e8fde7056" providerId="ADAL" clId="{6FC6E936-F934-4CAF-9978-4FF4914385E3}" dt="2019-04-04T07:32:51.321" v="2503" actId="1076"/>
          <ac:picMkLst>
            <pc:docMk/>
            <pc:sldMk cId="1842254415" sldId="479"/>
            <ac:picMk id="50" creationId="{7C7095C4-E528-4401-9A35-152B5045531C}"/>
          </ac:picMkLst>
        </pc:picChg>
        <pc:cxnChg chg="del">
          <ac:chgData name="Jordi Gil Nieto" userId="dc92af6d-8bfc-4cf9-a920-242e8fde7056" providerId="ADAL" clId="{6FC6E936-F934-4CAF-9978-4FF4914385E3}" dt="2019-04-01T16:11:08.377" v="246" actId="478"/>
          <ac:cxnSpMkLst>
            <pc:docMk/>
            <pc:sldMk cId="1842254415" sldId="479"/>
            <ac:cxnSpMk id="8" creationId="{00000000-0000-0000-0000-000000000000}"/>
          </ac:cxnSpMkLst>
        </pc:cxnChg>
        <pc:cxnChg chg="del">
          <ac:chgData name="Jordi Gil Nieto" userId="dc92af6d-8bfc-4cf9-a920-242e8fde7056" providerId="ADAL" clId="{6FC6E936-F934-4CAF-9978-4FF4914385E3}" dt="2019-04-01T16:11:08.377" v="246" actId="478"/>
          <ac:cxnSpMkLst>
            <pc:docMk/>
            <pc:sldMk cId="1842254415" sldId="479"/>
            <ac:cxnSpMk id="41" creationId="{00000000-0000-0000-0000-000000000000}"/>
          </ac:cxnSpMkLst>
        </pc:cxnChg>
        <pc:cxnChg chg="del">
          <ac:chgData name="Jordi Gil Nieto" userId="dc92af6d-8bfc-4cf9-a920-242e8fde7056" providerId="ADAL" clId="{6FC6E936-F934-4CAF-9978-4FF4914385E3}" dt="2019-04-01T16:11:08.377" v="246" actId="478"/>
          <ac:cxnSpMkLst>
            <pc:docMk/>
            <pc:sldMk cId="1842254415" sldId="479"/>
            <ac:cxnSpMk id="42" creationId="{00000000-0000-0000-0000-000000000000}"/>
          </ac:cxnSpMkLst>
        </pc:cxnChg>
        <pc:cxnChg chg="del">
          <ac:chgData name="Jordi Gil Nieto" userId="dc92af6d-8bfc-4cf9-a920-242e8fde7056" providerId="ADAL" clId="{6FC6E936-F934-4CAF-9978-4FF4914385E3}" dt="2019-04-01T16:11:08.377" v="246" actId="478"/>
          <ac:cxnSpMkLst>
            <pc:docMk/>
            <pc:sldMk cId="1842254415" sldId="479"/>
            <ac:cxnSpMk id="49" creationId="{00000000-0000-0000-0000-000000000000}"/>
          </ac:cxnSpMkLst>
        </pc:cxnChg>
      </pc:sldChg>
      <pc:sldChg chg="addSp delSp modSp add ord modNotesTx">
        <pc:chgData name="Jordi Gil Nieto" userId="dc92af6d-8bfc-4cf9-a920-242e8fde7056" providerId="ADAL" clId="{6FC6E936-F934-4CAF-9978-4FF4914385E3}" dt="2019-04-04T10:12:44.654" v="3555" actId="6549"/>
        <pc:sldMkLst>
          <pc:docMk/>
          <pc:sldMk cId="1538420332" sldId="523"/>
        </pc:sldMkLst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4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5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4T10:12:44.654" v="3555" actId="6549"/>
          <ac:spMkLst>
            <pc:docMk/>
            <pc:sldMk cId="1538420332" sldId="523"/>
            <ac:spMk id="14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15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10:10:29.112" v="3550" actId="1037"/>
          <ac:spMkLst>
            <pc:docMk/>
            <pc:sldMk cId="1538420332" sldId="523"/>
            <ac:spMk id="15" creationId="{429F197A-0B1D-4920-A1B8-27689A181D6B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16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17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18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0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1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2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4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6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7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8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29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0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1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2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4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5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6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1T16:23:47.864" v="267" actId="478"/>
          <ac:spMkLst>
            <pc:docMk/>
            <pc:sldMk cId="1538420332" sldId="523"/>
            <ac:spMk id="37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1T16:23:24.784" v="262" actId="20577"/>
          <ac:spMkLst>
            <pc:docMk/>
            <pc:sldMk cId="1538420332" sldId="523"/>
            <ac:spMk id="46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1T16:23:43.425" v="266" actId="20577"/>
          <ac:spMkLst>
            <pc:docMk/>
            <pc:sldMk cId="1538420332" sldId="523"/>
            <ac:spMk id="47" creationId="{00000000-0000-0000-0000-000000000000}"/>
          </ac:spMkLst>
        </pc:spChg>
        <pc:picChg chg="add mod">
          <ac:chgData name="Jordi Gil Nieto" userId="dc92af6d-8bfc-4cf9-a920-242e8fde7056" providerId="ADAL" clId="{6FC6E936-F934-4CAF-9978-4FF4914385E3}" dt="2019-04-01T16:24:08.781" v="344" actId="14100"/>
          <ac:picMkLst>
            <pc:docMk/>
            <pc:sldMk cId="1538420332" sldId="523"/>
            <ac:picMk id="50" creationId="{7CA49931-9674-4450-8D00-638F7CF501AB}"/>
          </ac:picMkLst>
        </pc:picChg>
        <pc:picChg chg="add mod">
          <ac:chgData name="Jordi Gil Nieto" userId="dc92af6d-8bfc-4cf9-a920-242e8fde7056" providerId="ADAL" clId="{6FC6E936-F934-4CAF-9978-4FF4914385E3}" dt="2019-04-04T10:11:30.371" v="3553" actId="1076"/>
          <ac:picMkLst>
            <pc:docMk/>
            <pc:sldMk cId="1538420332" sldId="523"/>
            <ac:picMk id="10246" creationId="{A7A28465-34C0-4930-A314-84824DD7F490}"/>
          </ac:picMkLst>
        </pc:picChg>
        <pc:cxnChg chg="del">
          <ac:chgData name="Jordi Gil Nieto" userId="dc92af6d-8bfc-4cf9-a920-242e8fde7056" providerId="ADAL" clId="{6FC6E936-F934-4CAF-9978-4FF4914385E3}" dt="2019-04-01T16:23:47.864" v="267" actId="478"/>
          <ac:cxnSpMkLst>
            <pc:docMk/>
            <pc:sldMk cId="1538420332" sldId="523"/>
            <ac:cxnSpMk id="8" creationId="{00000000-0000-0000-0000-000000000000}"/>
          </ac:cxnSpMkLst>
        </pc:cxnChg>
        <pc:cxnChg chg="del">
          <ac:chgData name="Jordi Gil Nieto" userId="dc92af6d-8bfc-4cf9-a920-242e8fde7056" providerId="ADAL" clId="{6FC6E936-F934-4CAF-9978-4FF4914385E3}" dt="2019-04-01T16:23:47.864" v="267" actId="478"/>
          <ac:cxnSpMkLst>
            <pc:docMk/>
            <pc:sldMk cId="1538420332" sldId="523"/>
            <ac:cxnSpMk id="41" creationId="{00000000-0000-0000-0000-000000000000}"/>
          </ac:cxnSpMkLst>
        </pc:cxnChg>
        <pc:cxnChg chg="del">
          <ac:chgData name="Jordi Gil Nieto" userId="dc92af6d-8bfc-4cf9-a920-242e8fde7056" providerId="ADAL" clId="{6FC6E936-F934-4CAF-9978-4FF4914385E3}" dt="2019-04-01T16:23:47.864" v="267" actId="478"/>
          <ac:cxnSpMkLst>
            <pc:docMk/>
            <pc:sldMk cId="1538420332" sldId="523"/>
            <ac:cxnSpMk id="42" creationId="{00000000-0000-0000-0000-000000000000}"/>
          </ac:cxnSpMkLst>
        </pc:cxnChg>
        <pc:cxnChg chg="del">
          <ac:chgData name="Jordi Gil Nieto" userId="dc92af6d-8bfc-4cf9-a920-242e8fde7056" providerId="ADAL" clId="{6FC6E936-F934-4CAF-9978-4FF4914385E3}" dt="2019-04-01T16:23:47.864" v="267" actId="478"/>
          <ac:cxnSpMkLst>
            <pc:docMk/>
            <pc:sldMk cId="1538420332" sldId="523"/>
            <ac:cxnSpMk id="49" creationId="{00000000-0000-0000-0000-000000000000}"/>
          </ac:cxnSpMkLst>
        </pc:cxnChg>
      </pc:sldChg>
      <pc:sldChg chg="addSp delSp modSp add modNotesTx">
        <pc:chgData name="Jordi Gil Nieto" userId="dc92af6d-8bfc-4cf9-a920-242e8fde7056" providerId="ADAL" clId="{6FC6E936-F934-4CAF-9978-4FF4914385E3}" dt="2019-04-04T10:15:07.505" v="3557" actId="478"/>
        <pc:sldMkLst>
          <pc:docMk/>
          <pc:sldMk cId="2825012662" sldId="524"/>
        </pc:sldMkLst>
        <pc:spChg chg="add mod">
          <ac:chgData name="Jordi Gil Nieto" userId="dc92af6d-8bfc-4cf9-a920-242e8fde7056" providerId="ADAL" clId="{6FC6E936-F934-4CAF-9978-4FF4914385E3}" dt="2019-04-04T10:08:58.570" v="3493" actId="692"/>
          <ac:spMkLst>
            <pc:docMk/>
            <pc:sldMk cId="2825012662" sldId="524"/>
            <ac:spMk id="2" creationId="{93037DD5-102E-4D32-9439-91DA2FEDD037}"/>
          </ac:spMkLst>
        </pc:spChg>
        <pc:spChg chg="mod">
          <ac:chgData name="Jordi Gil Nieto" userId="dc92af6d-8bfc-4cf9-a920-242e8fde7056" providerId="ADAL" clId="{6FC6E936-F934-4CAF-9978-4FF4914385E3}" dt="2019-04-04T08:15:48.597" v="3317" actId="20577"/>
          <ac:spMkLst>
            <pc:docMk/>
            <pc:sldMk cId="2825012662" sldId="524"/>
            <ac:spMk id="14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2T09:44:48.130" v="371" actId="20577"/>
          <ac:spMkLst>
            <pc:docMk/>
            <pc:sldMk cId="2825012662" sldId="524"/>
            <ac:spMk id="47" creationId="{00000000-0000-0000-0000-000000000000}"/>
          </ac:spMkLst>
        </pc:spChg>
        <pc:picChg chg="add del mod ord">
          <ac:chgData name="Jordi Gil Nieto" userId="dc92af6d-8bfc-4cf9-a920-242e8fde7056" providerId="ADAL" clId="{6FC6E936-F934-4CAF-9978-4FF4914385E3}" dt="2019-04-04T10:15:07.505" v="3557" actId="478"/>
          <ac:picMkLst>
            <pc:docMk/>
            <pc:sldMk cId="2825012662" sldId="524"/>
            <ac:picMk id="4" creationId="{5914F587-D02F-4BC8-8089-F9A44428A221}"/>
          </ac:picMkLst>
        </pc:picChg>
      </pc:sldChg>
      <pc:sldChg chg="addSp delSp modSp add modNotesTx">
        <pc:chgData name="Jordi Gil Nieto" userId="dc92af6d-8bfc-4cf9-a920-242e8fde7056" providerId="ADAL" clId="{6FC6E936-F934-4CAF-9978-4FF4914385E3}" dt="2019-04-04T10:27:49.854" v="4010" actId="1036"/>
        <pc:sldMkLst>
          <pc:docMk/>
          <pc:sldMk cId="2976379869" sldId="525"/>
        </pc:sldMkLst>
        <pc:spChg chg="add del">
          <ac:chgData name="Jordi Gil Nieto" userId="dc92af6d-8bfc-4cf9-a920-242e8fde7056" providerId="ADAL" clId="{6FC6E936-F934-4CAF-9978-4FF4914385E3}" dt="2019-04-02T09:47:33.726" v="390"/>
          <ac:spMkLst>
            <pc:docMk/>
            <pc:sldMk cId="2976379869" sldId="525"/>
            <ac:spMk id="2" creationId="{C2308E6A-91CA-41A0-BF2B-DDBB91AD872A}"/>
          </ac:spMkLst>
        </pc:spChg>
        <pc:spChg chg="mod">
          <ac:chgData name="Jordi Gil Nieto" userId="dc92af6d-8bfc-4cf9-a920-242e8fde7056" providerId="ADAL" clId="{6FC6E936-F934-4CAF-9978-4FF4914385E3}" dt="2019-04-04T08:17:45.569" v="3328" actId="6549"/>
          <ac:spMkLst>
            <pc:docMk/>
            <pc:sldMk cId="2976379869" sldId="525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10:27:49.854" v="4010" actId="1036"/>
          <ac:spMkLst>
            <pc:docMk/>
            <pc:sldMk cId="2976379869" sldId="525"/>
            <ac:spMk id="15" creationId="{2F3C221B-6E34-49DF-9C1F-D3AB16887844}"/>
          </ac:spMkLst>
        </pc:spChg>
        <pc:spChg chg="mod">
          <ac:chgData name="Jordi Gil Nieto" userId="dc92af6d-8bfc-4cf9-a920-242e8fde7056" providerId="ADAL" clId="{6FC6E936-F934-4CAF-9978-4FF4914385E3}" dt="2019-04-02T09:46:12.538" v="383" actId="20577"/>
          <ac:spMkLst>
            <pc:docMk/>
            <pc:sldMk cId="2976379869" sldId="525"/>
            <ac:spMk id="47" creationId="{00000000-0000-0000-0000-000000000000}"/>
          </ac:spMkLst>
        </pc:spChg>
      </pc:sldChg>
      <pc:sldChg chg="addSp delSp modSp add ord modNotesTx">
        <pc:chgData name="Jordi Gil Nieto" userId="dc92af6d-8bfc-4cf9-a920-242e8fde7056" providerId="ADAL" clId="{6FC6E936-F934-4CAF-9978-4FF4914385E3}" dt="2019-04-04T10:25:14.991" v="3897" actId="2711"/>
        <pc:sldMkLst>
          <pc:docMk/>
          <pc:sldMk cId="1619765855" sldId="526"/>
        </pc:sldMkLst>
        <pc:spChg chg="add del mod">
          <ac:chgData name="Jordi Gil Nieto" userId="dc92af6d-8bfc-4cf9-a920-242e8fde7056" providerId="ADAL" clId="{6FC6E936-F934-4CAF-9978-4FF4914385E3}" dt="2019-04-03T11:20:47.063" v="2314" actId="478"/>
          <ac:spMkLst>
            <pc:docMk/>
            <pc:sldMk cId="1619765855" sldId="526"/>
            <ac:spMk id="2" creationId="{77E61A39-178B-45C6-ABDD-14DC466E2652}"/>
          </ac:spMkLst>
        </pc:spChg>
        <pc:spChg chg="mod">
          <ac:chgData name="Jordi Gil Nieto" userId="dc92af6d-8bfc-4cf9-a920-242e8fde7056" providerId="ADAL" clId="{6FC6E936-F934-4CAF-9978-4FF4914385E3}" dt="2019-04-03T10:55:05.112" v="2310" actId="6549"/>
          <ac:spMkLst>
            <pc:docMk/>
            <pc:sldMk cId="1619765855" sldId="526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10:21:36.969" v="3827" actId="1038"/>
          <ac:spMkLst>
            <pc:docMk/>
            <pc:sldMk cId="1619765855" sldId="526"/>
            <ac:spMk id="15" creationId="{261104D0-42AF-477F-9800-28EAA79E7FD4}"/>
          </ac:spMkLst>
        </pc:spChg>
        <pc:spChg chg="mod">
          <ac:chgData name="Jordi Gil Nieto" userId="dc92af6d-8bfc-4cf9-a920-242e8fde7056" providerId="ADAL" clId="{6FC6E936-F934-4CAF-9978-4FF4914385E3}" dt="2019-04-02T09:47:43.363" v="409" actId="20577"/>
          <ac:spMkLst>
            <pc:docMk/>
            <pc:sldMk cId="1619765855" sldId="526"/>
            <ac:spMk id="47" creationId="{00000000-0000-0000-0000-000000000000}"/>
          </ac:spMkLst>
        </pc:spChg>
        <pc:graphicFrameChg chg="add mod">
          <ac:chgData name="Jordi Gil Nieto" userId="dc92af6d-8bfc-4cf9-a920-242e8fde7056" providerId="ADAL" clId="{6FC6E936-F934-4CAF-9978-4FF4914385E3}" dt="2019-04-04T10:25:14.991" v="3897" actId="2711"/>
          <ac:graphicFrameMkLst>
            <pc:docMk/>
            <pc:sldMk cId="1619765855" sldId="526"/>
            <ac:graphicFrameMk id="2" creationId="{2BC5B246-683D-49FA-8D6E-08518939B303}"/>
          </ac:graphicFrameMkLst>
        </pc:graphicFrameChg>
        <pc:picChg chg="mod">
          <ac:chgData name="Jordi Gil Nieto" userId="dc92af6d-8bfc-4cf9-a920-242e8fde7056" providerId="ADAL" clId="{6FC6E936-F934-4CAF-9978-4FF4914385E3}" dt="2019-04-04T10:21:29.098" v="3819" actId="1076"/>
          <ac:picMkLst>
            <pc:docMk/>
            <pc:sldMk cId="1619765855" sldId="526"/>
            <ac:picMk id="50" creationId="{7CA49931-9674-4450-8D00-638F7CF501AB}"/>
          </ac:picMkLst>
        </pc:picChg>
      </pc:sldChg>
      <pc:sldChg chg="addSp modSp add modNotesTx">
        <pc:chgData name="Jordi Gil Nieto" userId="dc92af6d-8bfc-4cf9-a920-242e8fde7056" providerId="ADAL" clId="{6FC6E936-F934-4CAF-9978-4FF4914385E3}" dt="2019-04-04T10:28:14.068" v="4072" actId="14100"/>
        <pc:sldMkLst>
          <pc:docMk/>
          <pc:sldMk cId="436621792" sldId="527"/>
        </pc:sldMkLst>
        <pc:spChg chg="mod">
          <ac:chgData name="Jordi Gil Nieto" userId="dc92af6d-8bfc-4cf9-a920-242e8fde7056" providerId="ADAL" clId="{6FC6E936-F934-4CAF-9978-4FF4914385E3}" dt="2019-04-04T08:18:58.597" v="3331" actId="113"/>
          <ac:spMkLst>
            <pc:docMk/>
            <pc:sldMk cId="436621792" sldId="527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10:28:14.068" v="4072" actId="14100"/>
          <ac:spMkLst>
            <pc:docMk/>
            <pc:sldMk cId="436621792" sldId="527"/>
            <ac:spMk id="16" creationId="{CC92E59F-3194-41F2-BFB2-31A5DEB438B6}"/>
          </ac:spMkLst>
        </pc:spChg>
        <pc:spChg chg="mod">
          <ac:chgData name="Jordi Gil Nieto" userId="dc92af6d-8bfc-4cf9-a920-242e8fde7056" providerId="ADAL" clId="{6FC6E936-F934-4CAF-9978-4FF4914385E3}" dt="2019-04-02T09:48:49.187" v="420" actId="20577"/>
          <ac:spMkLst>
            <pc:docMk/>
            <pc:sldMk cId="436621792" sldId="527"/>
            <ac:spMk id="46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2T09:49:06.236" v="429" actId="20577"/>
          <ac:spMkLst>
            <pc:docMk/>
            <pc:sldMk cId="436621792" sldId="527"/>
            <ac:spMk id="47" creationId="{00000000-0000-0000-0000-000000000000}"/>
          </ac:spMkLst>
        </pc:spChg>
        <pc:picChg chg="add mod">
          <ac:chgData name="Jordi Gil Nieto" userId="dc92af6d-8bfc-4cf9-a920-242e8fde7056" providerId="ADAL" clId="{6FC6E936-F934-4CAF-9978-4FF4914385E3}" dt="2019-04-02T09:50:25.820" v="435" actId="14100"/>
          <ac:picMkLst>
            <pc:docMk/>
            <pc:sldMk cId="436621792" sldId="527"/>
            <ac:picMk id="3" creationId="{590DCD8B-426F-44F3-9E6D-6C9995ECD8F3}"/>
          </ac:picMkLst>
        </pc:picChg>
      </pc:sldChg>
      <pc:sldChg chg="addSp delSp modSp add modNotesTx">
        <pc:chgData name="Jordi Gil Nieto" userId="dc92af6d-8bfc-4cf9-a920-242e8fde7056" providerId="ADAL" clId="{6FC6E936-F934-4CAF-9978-4FF4914385E3}" dt="2019-04-04T10:28:22.267" v="4082" actId="1036"/>
        <pc:sldMkLst>
          <pc:docMk/>
          <pc:sldMk cId="3764660779" sldId="528"/>
        </pc:sldMkLst>
        <pc:spChg chg="mod">
          <ac:chgData name="Jordi Gil Nieto" userId="dc92af6d-8bfc-4cf9-a920-242e8fde7056" providerId="ADAL" clId="{6FC6E936-F934-4CAF-9978-4FF4914385E3}" dt="2019-04-02T10:35:48.125" v="1335" actId="113"/>
          <ac:spMkLst>
            <pc:docMk/>
            <pc:sldMk cId="3764660779" sldId="528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10:28:22.267" v="4082" actId="1036"/>
          <ac:spMkLst>
            <pc:docMk/>
            <pc:sldMk cId="3764660779" sldId="528"/>
            <ac:spMk id="16" creationId="{DD995DFD-2DAC-4E05-96CC-54E41CD7DB0B}"/>
          </ac:spMkLst>
        </pc:spChg>
        <pc:spChg chg="mod">
          <ac:chgData name="Jordi Gil Nieto" userId="dc92af6d-8bfc-4cf9-a920-242e8fde7056" providerId="ADAL" clId="{6FC6E936-F934-4CAF-9978-4FF4914385E3}" dt="2019-04-02T09:50:51.875" v="449" actId="20577"/>
          <ac:spMkLst>
            <pc:docMk/>
            <pc:sldMk cId="3764660779" sldId="528"/>
            <ac:spMk id="47" creationId="{00000000-0000-0000-0000-000000000000}"/>
          </ac:spMkLst>
        </pc:spChg>
        <pc:picChg chg="del">
          <ac:chgData name="Jordi Gil Nieto" userId="dc92af6d-8bfc-4cf9-a920-242e8fde7056" providerId="ADAL" clId="{6FC6E936-F934-4CAF-9978-4FF4914385E3}" dt="2019-04-02T09:50:42.914" v="437" actId="478"/>
          <ac:picMkLst>
            <pc:docMk/>
            <pc:sldMk cId="3764660779" sldId="528"/>
            <ac:picMk id="3" creationId="{590DCD8B-426F-44F3-9E6D-6C9995ECD8F3}"/>
          </ac:picMkLst>
        </pc:picChg>
        <pc:picChg chg="add mod">
          <ac:chgData name="Jordi Gil Nieto" userId="dc92af6d-8bfc-4cf9-a920-242e8fde7056" providerId="ADAL" clId="{6FC6E936-F934-4CAF-9978-4FF4914385E3}" dt="2019-04-03T11:27:13.690" v="2440" actId="1076"/>
          <ac:picMkLst>
            <pc:docMk/>
            <pc:sldMk cId="3764660779" sldId="528"/>
            <ac:picMk id="15" creationId="{53237A3E-08BC-4CD3-BBF2-2FEB876D40C2}"/>
          </ac:picMkLst>
        </pc:picChg>
      </pc:sldChg>
      <pc:sldChg chg="addSp delSp modSp add modNotesTx">
        <pc:chgData name="Jordi Gil Nieto" userId="dc92af6d-8bfc-4cf9-a920-242e8fde7056" providerId="ADAL" clId="{6FC6E936-F934-4CAF-9978-4FF4914385E3}" dt="2019-04-17T09:53:57.221" v="4185" actId="5793"/>
        <pc:sldMkLst>
          <pc:docMk/>
          <pc:sldMk cId="1800423798" sldId="529"/>
        </pc:sldMkLst>
        <pc:spChg chg="mod">
          <ac:chgData name="Jordi Gil Nieto" userId="dc92af6d-8bfc-4cf9-a920-242e8fde7056" providerId="ADAL" clId="{6FC6E936-F934-4CAF-9978-4FF4914385E3}" dt="2019-04-04T10:28:34.854" v="4084" actId="255"/>
          <ac:spMkLst>
            <pc:docMk/>
            <pc:sldMk cId="1800423798" sldId="529"/>
            <ac:spMk id="14" creationId="{00000000-0000-0000-0000-000000000000}"/>
          </ac:spMkLst>
        </pc:spChg>
        <pc:spChg chg="mod">
          <ac:chgData name="Jordi Gil Nieto" userId="dc92af6d-8bfc-4cf9-a920-242e8fde7056" providerId="ADAL" clId="{6FC6E936-F934-4CAF-9978-4FF4914385E3}" dt="2019-04-02T09:58:23.690" v="501" actId="20577"/>
          <ac:spMkLst>
            <pc:docMk/>
            <pc:sldMk cId="1800423798" sldId="529"/>
            <ac:spMk id="46" creationId="{00000000-0000-0000-0000-000000000000}"/>
          </ac:spMkLst>
        </pc:spChg>
        <pc:spChg chg="del">
          <ac:chgData name="Jordi Gil Nieto" userId="dc92af6d-8bfc-4cf9-a920-242e8fde7056" providerId="ADAL" clId="{6FC6E936-F934-4CAF-9978-4FF4914385E3}" dt="2019-04-02T09:58:36.460" v="504" actId="478"/>
          <ac:spMkLst>
            <pc:docMk/>
            <pc:sldMk cId="1800423798" sldId="529"/>
            <ac:spMk id="47" creationId="{00000000-0000-0000-0000-000000000000}"/>
          </ac:spMkLst>
        </pc:spChg>
        <pc:grpChg chg="add del">
          <ac:chgData name="Jordi Gil Nieto" userId="dc92af6d-8bfc-4cf9-a920-242e8fde7056" providerId="ADAL" clId="{6FC6E936-F934-4CAF-9978-4FF4914385E3}" dt="2019-04-02T09:58:33.618" v="503" actId="478"/>
          <ac:grpSpMkLst>
            <pc:docMk/>
            <pc:sldMk cId="1800423798" sldId="529"/>
            <ac:grpSpMk id="25" creationId="{00000000-0000-0000-0000-000000000000}"/>
          </ac:grpSpMkLst>
        </pc:grpChg>
        <pc:picChg chg="del">
          <ac:chgData name="Jordi Gil Nieto" userId="dc92af6d-8bfc-4cf9-a920-242e8fde7056" providerId="ADAL" clId="{6FC6E936-F934-4CAF-9978-4FF4914385E3}" dt="2019-04-02T09:58:38.260" v="505" actId="478"/>
          <ac:picMkLst>
            <pc:docMk/>
            <pc:sldMk cId="1800423798" sldId="529"/>
            <ac:picMk id="50" creationId="{7CA49931-9674-4450-8D00-638F7CF501AB}"/>
          </ac:picMkLst>
        </pc:picChg>
      </pc:sldChg>
      <pc:sldChg chg="addSp modSp add ord">
        <pc:chgData name="Jordi Gil Nieto" userId="dc92af6d-8bfc-4cf9-a920-242e8fde7056" providerId="ADAL" clId="{6FC6E936-F934-4CAF-9978-4FF4914385E3}" dt="2019-05-14T20:13:59.391" v="4186" actId="313"/>
        <pc:sldMkLst>
          <pc:docMk/>
          <pc:sldMk cId="2965529254" sldId="530"/>
        </pc:sldMkLst>
        <pc:spChg chg="mod">
          <ac:chgData name="Jordi Gil Nieto" userId="dc92af6d-8bfc-4cf9-a920-242e8fde7056" providerId="ADAL" clId="{6FC6E936-F934-4CAF-9978-4FF4914385E3}" dt="2019-05-14T20:13:59.391" v="4186" actId="313"/>
          <ac:spMkLst>
            <pc:docMk/>
            <pc:sldMk cId="2965529254" sldId="530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10:27:33.167" v="3926" actId="1037"/>
          <ac:spMkLst>
            <pc:docMk/>
            <pc:sldMk cId="2965529254" sldId="530"/>
            <ac:spMk id="21" creationId="{FDE6DAA6-CD17-44F7-A74B-31777E56FCE3}"/>
          </ac:spMkLst>
        </pc:spChg>
        <pc:spChg chg="mod">
          <ac:chgData name="Jordi Gil Nieto" userId="dc92af6d-8bfc-4cf9-a920-242e8fde7056" providerId="ADAL" clId="{6FC6E936-F934-4CAF-9978-4FF4914385E3}" dt="2019-04-02T10:33:13.948" v="917" actId="20577"/>
          <ac:spMkLst>
            <pc:docMk/>
            <pc:sldMk cId="2965529254" sldId="530"/>
            <ac:spMk id="47" creationId="{00000000-0000-0000-0000-000000000000}"/>
          </ac:spMkLst>
        </pc:spChg>
        <pc:picChg chg="add mod">
          <ac:chgData name="Jordi Gil Nieto" userId="dc92af6d-8bfc-4cf9-a920-242e8fde7056" providerId="ADAL" clId="{6FC6E936-F934-4CAF-9978-4FF4914385E3}" dt="2019-04-04T07:41:09.439" v="2726" actId="1076"/>
          <ac:picMkLst>
            <pc:docMk/>
            <pc:sldMk cId="2965529254" sldId="530"/>
            <ac:picMk id="9221" creationId="{F3F1DF60-EAE6-40E7-AB60-0239CFA26518}"/>
          </ac:picMkLst>
        </pc:picChg>
        <pc:picChg chg="add mod">
          <ac:chgData name="Jordi Gil Nieto" userId="dc92af6d-8bfc-4cf9-a920-242e8fde7056" providerId="ADAL" clId="{6FC6E936-F934-4CAF-9978-4FF4914385E3}" dt="2019-04-04T07:41:31.321" v="2731" actId="1076"/>
          <ac:picMkLst>
            <pc:docMk/>
            <pc:sldMk cId="2965529254" sldId="530"/>
            <ac:picMk id="9223" creationId="{368B3310-D086-4249-82D0-C462F01A6198}"/>
          </ac:picMkLst>
        </pc:picChg>
        <pc:picChg chg="add mod">
          <ac:chgData name="Jordi Gil Nieto" userId="dc92af6d-8bfc-4cf9-a920-242e8fde7056" providerId="ADAL" clId="{6FC6E936-F934-4CAF-9978-4FF4914385E3}" dt="2019-04-04T07:41:46.547" v="2734" actId="1076"/>
          <ac:picMkLst>
            <pc:docMk/>
            <pc:sldMk cId="2965529254" sldId="530"/>
            <ac:picMk id="9225" creationId="{E65C42FC-9183-410D-8BB7-4EAE1B6CF483}"/>
          </ac:picMkLst>
        </pc:picChg>
        <pc:picChg chg="add mod">
          <ac:chgData name="Jordi Gil Nieto" userId="dc92af6d-8bfc-4cf9-a920-242e8fde7056" providerId="ADAL" clId="{6FC6E936-F934-4CAF-9978-4FF4914385E3}" dt="2019-04-04T07:42:08.957" v="2737" actId="1076"/>
          <ac:picMkLst>
            <pc:docMk/>
            <pc:sldMk cId="2965529254" sldId="530"/>
            <ac:picMk id="9227" creationId="{9AA70BB7-C076-4936-BDA0-C2BD40E9E960}"/>
          </ac:picMkLst>
        </pc:picChg>
        <pc:picChg chg="add mod">
          <ac:chgData name="Jordi Gil Nieto" userId="dc92af6d-8bfc-4cf9-a920-242e8fde7056" providerId="ADAL" clId="{6FC6E936-F934-4CAF-9978-4FF4914385E3}" dt="2019-04-04T07:42:41.062" v="2745" actId="14100"/>
          <ac:picMkLst>
            <pc:docMk/>
            <pc:sldMk cId="2965529254" sldId="530"/>
            <ac:picMk id="9229" creationId="{9B0E85C9-343E-48B6-AB5E-6EB9198398C8}"/>
          </ac:picMkLst>
        </pc:picChg>
        <pc:picChg chg="add mod">
          <ac:chgData name="Jordi Gil Nieto" userId="dc92af6d-8bfc-4cf9-a920-242e8fde7056" providerId="ADAL" clId="{6FC6E936-F934-4CAF-9978-4FF4914385E3}" dt="2019-04-04T07:42:42.744" v="2746" actId="1076"/>
          <ac:picMkLst>
            <pc:docMk/>
            <pc:sldMk cId="2965529254" sldId="530"/>
            <ac:picMk id="9231" creationId="{E32F0965-1A01-4EA1-B5AD-4AC6DA21C475}"/>
          </ac:picMkLst>
        </pc:picChg>
      </pc:sldChg>
      <pc:sldChg chg="addSp delSp modSp add ord modNotesTx">
        <pc:chgData name="Jordi Gil Nieto" userId="dc92af6d-8bfc-4cf9-a920-242e8fde7056" providerId="ADAL" clId="{6FC6E936-F934-4CAF-9978-4FF4914385E3}" dt="2019-04-04T08:15:55.910" v="3318"/>
        <pc:sldMkLst>
          <pc:docMk/>
          <pc:sldMk cId="616148466" sldId="531"/>
        </pc:sldMkLst>
        <pc:spChg chg="add mod">
          <ac:chgData name="Jordi Gil Nieto" userId="dc92af6d-8bfc-4cf9-a920-242e8fde7056" providerId="ADAL" clId="{6FC6E936-F934-4CAF-9978-4FF4914385E3}" dt="2019-04-03T07:46:24.212" v="2155" actId="20577"/>
          <ac:spMkLst>
            <pc:docMk/>
            <pc:sldMk cId="616148466" sldId="531"/>
            <ac:spMk id="14" creationId="{6CBD4B3D-78A9-46CF-B7B8-8C171B3F1943}"/>
          </ac:spMkLst>
        </pc:spChg>
        <pc:spChg chg="add mod">
          <ac:chgData name="Jordi Gil Nieto" userId="dc92af6d-8bfc-4cf9-a920-242e8fde7056" providerId="ADAL" clId="{6FC6E936-F934-4CAF-9978-4FF4914385E3}" dt="2019-04-04T08:11:53.766" v="3292" actId="255"/>
          <ac:spMkLst>
            <pc:docMk/>
            <pc:sldMk cId="616148466" sldId="531"/>
            <ac:spMk id="15" creationId="{7BD50C13-A712-406E-8E16-C9230DE49BA2}"/>
          </ac:spMkLst>
        </pc:spChg>
        <pc:picChg chg="del">
          <ac:chgData name="Jordi Gil Nieto" userId="dc92af6d-8bfc-4cf9-a920-242e8fde7056" providerId="ADAL" clId="{6FC6E936-F934-4CAF-9978-4FF4914385E3}" dt="2019-04-03T07:46:15.298" v="2137" actId="478"/>
          <ac:picMkLst>
            <pc:docMk/>
            <pc:sldMk cId="616148466" sldId="531"/>
            <ac:picMk id="50" creationId="{7C7095C4-E528-4401-9A35-152B5045531C}"/>
          </ac:picMkLst>
        </pc:picChg>
      </pc:sldChg>
      <pc:sldChg chg="addSp delSp modSp add modNotesTx">
        <pc:chgData name="Jordi Gil Nieto" userId="dc92af6d-8bfc-4cf9-a920-242e8fde7056" providerId="ADAL" clId="{6FC6E936-F934-4CAF-9978-4FF4914385E3}" dt="2019-04-03T10:37:29.071" v="2296" actId="113"/>
        <pc:sldMkLst>
          <pc:docMk/>
          <pc:sldMk cId="2267118212" sldId="532"/>
        </pc:sldMkLst>
        <pc:spChg chg="del">
          <ac:chgData name="Jordi Gil Nieto" userId="dc92af6d-8bfc-4cf9-a920-242e8fde7056" providerId="ADAL" clId="{6FC6E936-F934-4CAF-9978-4FF4914385E3}" dt="2019-04-03T09:25:37.095" v="2206" actId="478"/>
          <ac:spMkLst>
            <pc:docMk/>
            <pc:sldMk cId="2267118212" sldId="532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3T09:27:24.574" v="2246" actId="20577"/>
          <ac:spMkLst>
            <pc:docMk/>
            <pc:sldMk cId="2267118212" sldId="532"/>
            <ac:spMk id="15" creationId="{0E4CD64F-7A5A-43CC-9992-EE3101A0FFF8}"/>
          </ac:spMkLst>
        </pc:spChg>
        <pc:spChg chg="add mod">
          <ac:chgData name="Jordi Gil Nieto" userId="dc92af6d-8bfc-4cf9-a920-242e8fde7056" providerId="ADAL" clId="{6FC6E936-F934-4CAF-9978-4FF4914385E3}" dt="2019-04-03T10:37:11.055" v="2291" actId="207"/>
          <ac:spMkLst>
            <pc:docMk/>
            <pc:sldMk cId="2267118212" sldId="532"/>
            <ac:spMk id="17" creationId="{814B81A0-84F4-44D7-9026-05C2E94B84A5}"/>
          </ac:spMkLst>
        </pc:spChg>
        <pc:spChg chg="add mod">
          <ac:chgData name="Jordi Gil Nieto" userId="dc92af6d-8bfc-4cf9-a920-242e8fde7056" providerId="ADAL" clId="{6FC6E936-F934-4CAF-9978-4FF4914385E3}" dt="2019-04-03T10:37:21.836" v="2294" actId="113"/>
          <ac:spMkLst>
            <pc:docMk/>
            <pc:sldMk cId="2267118212" sldId="532"/>
            <ac:spMk id="18" creationId="{AE7CA193-1540-45EC-BF0C-8C048C5C7FE3}"/>
          </ac:spMkLst>
        </pc:spChg>
        <pc:spChg chg="add mod">
          <ac:chgData name="Jordi Gil Nieto" userId="dc92af6d-8bfc-4cf9-a920-242e8fde7056" providerId="ADAL" clId="{6FC6E936-F934-4CAF-9978-4FF4914385E3}" dt="2019-04-03T10:37:29.071" v="2296" actId="113"/>
          <ac:spMkLst>
            <pc:docMk/>
            <pc:sldMk cId="2267118212" sldId="532"/>
            <ac:spMk id="19" creationId="{91FAB163-3DB0-4203-B166-C6AD30E8AD1E}"/>
          </ac:spMkLst>
        </pc:spChg>
        <pc:picChg chg="del">
          <ac:chgData name="Jordi Gil Nieto" userId="dc92af6d-8bfc-4cf9-a920-242e8fde7056" providerId="ADAL" clId="{6FC6E936-F934-4CAF-9978-4FF4914385E3}" dt="2019-04-03T09:25:34.509" v="2205" actId="478"/>
          <ac:picMkLst>
            <pc:docMk/>
            <pc:sldMk cId="2267118212" sldId="532"/>
            <ac:picMk id="50" creationId="{7CA49931-9674-4450-8D00-638F7CF501AB}"/>
          </ac:picMkLst>
        </pc:picChg>
        <pc:picChg chg="add mod">
          <ac:chgData name="Jordi Gil Nieto" userId="dc92af6d-8bfc-4cf9-a920-242e8fde7056" providerId="ADAL" clId="{6FC6E936-F934-4CAF-9978-4FF4914385E3}" dt="2019-04-03T09:27:35.985" v="2250" actId="14100"/>
          <ac:picMkLst>
            <pc:docMk/>
            <pc:sldMk cId="2267118212" sldId="532"/>
            <ac:picMk id="12290" creationId="{4FFA4226-5F98-4FEC-A3CC-B77A750CCF85}"/>
          </ac:picMkLst>
        </pc:picChg>
      </pc:sldChg>
      <pc:sldChg chg="addSp delSp modSp add ord modNotesTx">
        <pc:chgData name="Jordi Gil Nieto" userId="dc92af6d-8bfc-4cf9-a920-242e8fde7056" providerId="ADAL" clId="{6FC6E936-F934-4CAF-9978-4FF4914385E3}" dt="2019-04-04T08:00:04.357" v="3087"/>
        <pc:sldMkLst>
          <pc:docMk/>
          <pc:sldMk cId="1251394239" sldId="533"/>
        </pc:sldMkLst>
        <pc:spChg chg="del">
          <ac:chgData name="Jordi Gil Nieto" userId="dc92af6d-8bfc-4cf9-a920-242e8fde7056" providerId="ADAL" clId="{6FC6E936-F934-4CAF-9978-4FF4914385E3}" dt="2019-04-03T11:20:58.805" v="2318" actId="478"/>
          <ac:spMkLst>
            <pc:docMk/>
            <pc:sldMk cId="1251394239" sldId="533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3T11:21:27.865" v="2374" actId="20577"/>
          <ac:spMkLst>
            <pc:docMk/>
            <pc:sldMk cId="1251394239" sldId="533"/>
            <ac:spMk id="15" creationId="{3AFA7131-3939-49EE-B632-35CE9DBA4657}"/>
          </ac:spMkLst>
        </pc:spChg>
        <pc:graphicFrameChg chg="add mod">
          <ac:chgData name="Jordi Gil Nieto" userId="dc92af6d-8bfc-4cf9-a920-242e8fde7056" providerId="ADAL" clId="{6FC6E936-F934-4CAF-9978-4FF4914385E3}" dt="2019-04-03T11:26:30.330" v="2436"/>
          <ac:graphicFrameMkLst>
            <pc:docMk/>
            <pc:sldMk cId="1251394239" sldId="533"/>
            <ac:graphicFrameMk id="2" creationId="{34C982A6-6B13-405C-B300-B92B7BEF1921}"/>
          </ac:graphicFrameMkLst>
        </pc:graphicFrameChg>
        <pc:picChg chg="del">
          <ac:chgData name="Jordi Gil Nieto" userId="dc92af6d-8bfc-4cf9-a920-242e8fde7056" providerId="ADAL" clId="{6FC6E936-F934-4CAF-9978-4FF4914385E3}" dt="2019-04-03T11:20:52.625" v="2316" actId="478"/>
          <ac:picMkLst>
            <pc:docMk/>
            <pc:sldMk cId="1251394239" sldId="533"/>
            <ac:picMk id="50" creationId="{7CA49931-9674-4450-8D00-638F7CF501AB}"/>
          </ac:picMkLst>
        </pc:picChg>
      </pc:sldChg>
      <pc:sldChg chg="addSp delSp modSp add modNotesTx">
        <pc:chgData name="Jordi Gil Nieto" userId="dc92af6d-8bfc-4cf9-a920-242e8fde7056" providerId="ADAL" clId="{6FC6E936-F934-4CAF-9978-4FF4914385E3}" dt="2019-04-04T07:55:35.101" v="3083" actId="20577"/>
        <pc:sldMkLst>
          <pc:docMk/>
          <pc:sldMk cId="1302732954" sldId="534"/>
        </pc:sldMkLst>
        <pc:spChg chg="add del mod">
          <ac:chgData name="Jordi Gil Nieto" userId="dc92af6d-8bfc-4cf9-a920-242e8fde7056" providerId="ADAL" clId="{6FC6E936-F934-4CAF-9978-4FF4914385E3}" dt="2019-04-04T07:47:04.319" v="2879" actId="478"/>
          <ac:spMkLst>
            <pc:docMk/>
            <pc:sldMk cId="1302732954" sldId="534"/>
            <ac:spMk id="2" creationId="{EE33FB12-17B2-40BB-A0EA-031F04971108}"/>
          </ac:spMkLst>
        </pc:spChg>
        <pc:spChg chg="del">
          <ac:chgData name="Jordi Gil Nieto" userId="dc92af6d-8bfc-4cf9-a920-242e8fde7056" providerId="ADAL" clId="{6FC6E936-F934-4CAF-9978-4FF4914385E3}" dt="2019-04-03T11:29:19.482" v="2465" actId="478"/>
          <ac:spMkLst>
            <pc:docMk/>
            <pc:sldMk cId="1302732954" sldId="534"/>
            <ac:spMk id="14" creationId="{00000000-0000-0000-0000-000000000000}"/>
          </ac:spMkLst>
        </pc:spChg>
        <pc:spChg chg="add mod">
          <ac:chgData name="Jordi Gil Nieto" userId="dc92af6d-8bfc-4cf9-a920-242e8fde7056" providerId="ADAL" clId="{6FC6E936-F934-4CAF-9978-4FF4914385E3}" dt="2019-04-04T07:48:43.775" v="3029" actId="113"/>
          <ac:spMkLst>
            <pc:docMk/>
            <pc:sldMk cId="1302732954" sldId="534"/>
            <ac:spMk id="14" creationId="{48B562C9-70E1-4DAA-AC40-FEC511E7DE29}"/>
          </ac:spMkLst>
        </pc:spChg>
        <pc:spChg chg="mod">
          <ac:chgData name="Jordi Gil Nieto" userId="dc92af6d-8bfc-4cf9-a920-242e8fde7056" providerId="ADAL" clId="{6FC6E936-F934-4CAF-9978-4FF4914385E3}" dt="2019-04-03T11:29:16.171" v="2464" actId="20577"/>
          <ac:spMkLst>
            <pc:docMk/>
            <pc:sldMk cId="1302732954" sldId="534"/>
            <ac:spMk id="46" creationId="{00000000-0000-0000-0000-000000000000}"/>
          </ac:spMkLst>
        </pc:spChg>
        <pc:graphicFrameChg chg="add mod">
          <ac:chgData name="Jordi Gil Nieto" userId="dc92af6d-8bfc-4cf9-a920-242e8fde7056" providerId="ADAL" clId="{6FC6E936-F934-4CAF-9978-4FF4914385E3}" dt="2019-04-04T07:55:35.101" v="3083" actId="20577"/>
          <ac:graphicFrameMkLst>
            <pc:docMk/>
            <pc:sldMk cId="1302732954" sldId="534"/>
            <ac:graphicFrameMk id="3" creationId="{4BAA735B-595A-41B3-8517-211828653994}"/>
          </ac:graphicFrameMkLst>
        </pc:graphicFrameChg>
      </pc:sldChg>
      <pc:sldChg chg="addSp delSp modSp add modNotesTx">
        <pc:chgData name="Jordi Gil Nieto" userId="dc92af6d-8bfc-4cf9-a920-242e8fde7056" providerId="ADAL" clId="{6FC6E936-F934-4CAF-9978-4FF4914385E3}" dt="2019-04-04T10:20:38.452" v="3816" actId="20577"/>
        <pc:sldMkLst>
          <pc:docMk/>
          <pc:sldMk cId="412082376" sldId="535"/>
        </pc:sldMkLst>
        <pc:spChg chg="del">
          <ac:chgData name="Jordi Gil Nieto" userId="dc92af6d-8bfc-4cf9-a920-242e8fde7056" providerId="ADAL" clId="{6FC6E936-F934-4CAF-9978-4FF4914385E3}" dt="2019-04-04T10:15:16.679" v="3560" actId="478"/>
          <ac:spMkLst>
            <pc:docMk/>
            <pc:sldMk cId="412082376" sldId="535"/>
            <ac:spMk id="2" creationId="{93037DD5-102E-4D32-9439-91DA2FEDD037}"/>
          </ac:spMkLst>
        </pc:spChg>
        <pc:spChg chg="del">
          <ac:chgData name="Jordi Gil Nieto" userId="dc92af6d-8bfc-4cf9-a920-242e8fde7056" providerId="ADAL" clId="{6FC6E936-F934-4CAF-9978-4FF4914385E3}" dt="2019-04-04T10:15:14.754" v="3559" actId="478"/>
          <ac:spMkLst>
            <pc:docMk/>
            <pc:sldMk cId="412082376" sldId="535"/>
            <ac:spMk id="14" creationId="{00000000-0000-0000-0000-000000000000}"/>
          </ac:spMkLst>
        </pc:spChg>
        <pc:spChg chg="add del mod">
          <ac:chgData name="Jordi Gil Nieto" userId="dc92af6d-8bfc-4cf9-a920-242e8fde7056" providerId="ADAL" clId="{6FC6E936-F934-4CAF-9978-4FF4914385E3}" dt="2019-04-04T10:20:19.279" v="3808" actId="478"/>
          <ac:spMkLst>
            <pc:docMk/>
            <pc:sldMk cId="412082376" sldId="535"/>
            <ac:spMk id="17" creationId="{6FCDF5EE-2841-4E52-8A8E-EAA2979A9387}"/>
          </ac:spMkLst>
        </pc:spChg>
        <pc:spChg chg="mod">
          <ac:chgData name="Jordi Gil Nieto" userId="dc92af6d-8bfc-4cf9-a920-242e8fde7056" providerId="ADAL" clId="{6FC6E936-F934-4CAF-9978-4FF4914385E3}" dt="2019-04-04T10:20:16.018" v="3807"/>
          <ac:spMkLst>
            <pc:docMk/>
            <pc:sldMk cId="412082376" sldId="535"/>
            <ac:spMk id="47" creationId="{00000000-0000-0000-0000-000000000000}"/>
          </ac:spMkLst>
        </pc:spChg>
        <pc:graphicFrameChg chg="add mod">
          <ac:chgData name="Jordi Gil Nieto" userId="dc92af6d-8bfc-4cf9-a920-242e8fde7056" providerId="ADAL" clId="{6FC6E936-F934-4CAF-9978-4FF4914385E3}" dt="2019-04-04T10:20:38.452" v="3816" actId="20577"/>
          <ac:graphicFrameMkLst>
            <pc:docMk/>
            <pc:sldMk cId="412082376" sldId="535"/>
            <ac:graphicFrameMk id="3" creationId="{65146BE8-21D5-4C33-BF05-765BCC08D847}"/>
          </ac:graphicFrameMkLst>
        </pc:graphicFrameChg>
        <pc:picChg chg="del">
          <ac:chgData name="Jordi Gil Nieto" userId="dc92af6d-8bfc-4cf9-a920-242e8fde7056" providerId="ADAL" clId="{6FC6E936-F934-4CAF-9978-4FF4914385E3}" dt="2019-04-04T10:15:14.754" v="3559" actId="478"/>
          <ac:picMkLst>
            <pc:docMk/>
            <pc:sldMk cId="412082376" sldId="535"/>
            <ac:picMk id="4" creationId="{5914F587-D02F-4BC8-8089-F9A44428A221}"/>
          </ac:picMkLst>
        </pc:picChg>
        <pc:picChg chg="del">
          <ac:chgData name="Jordi Gil Nieto" userId="dc92af6d-8bfc-4cf9-a920-242e8fde7056" providerId="ADAL" clId="{6FC6E936-F934-4CAF-9978-4FF4914385E3}" dt="2019-04-04T10:15:14.754" v="3559" actId="478"/>
          <ac:picMkLst>
            <pc:docMk/>
            <pc:sldMk cId="412082376" sldId="535"/>
            <ac:picMk id="50" creationId="{7CA49931-9674-4450-8D00-638F7CF501AB}"/>
          </ac:picMkLst>
        </pc:picChg>
      </pc:sldChg>
      <pc:sldChg chg="modSp add">
        <pc:chgData name="Jordi Gil Nieto" userId="dc92af6d-8bfc-4cf9-a920-242e8fde7056" providerId="ADAL" clId="{6FC6E936-F934-4CAF-9978-4FF4914385E3}" dt="2019-04-04T10:32:29.347" v="4169" actId="108"/>
        <pc:sldMkLst>
          <pc:docMk/>
          <pc:sldMk cId="855522413" sldId="536"/>
        </pc:sldMkLst>
        <pc:spChg chg="mod">
          <ac:chgData name="Jordi Gil Nieto" userId="dc92af6d-8bfc-4cf9-a920-242e8fde7056" providerId="ADAL" clId="{6FC6E936-F934-4CAF-9978-4FF4914385E3}" dt="2019-04-04T10:32:29.347" v="4169" actId="108"/>
          <ac:spMkLst>
            <pc:docMk/>
            <pc:sldMk cId="855522413" sldId="536"/>
            <ac:spMk id="46" creationId="{00000000-0000-0000-0000-000000000000}"/>
          </ac:spMkLst>
        </pc:spChg>
      </pc:sldChg>
      <pc:sldChg chg="modSp add">
        <pc:chgData name="Jordi Gil Nieto" userId="dc92af6d-8bfc-4cf9-a920-242e8fde7056" providerId="ADAL" clId="{6FC6E936-F934-4CAF-9978-4FF4914385E3}" dt="2019-04-04T10:32:49.005" v="4173" actId="108"/>
        <pc:sldMkLst>
          <pc:docMk/>
          <pc:sldMk cId="2943615084" sldId="537"/>
        </pc:sldMkLst>
        <pc:spChg chg="mod">
          <ac:chgData name="Jordi Gil Nieto" userId="dc92af6d-8bfc-4cf9-a920-242e8fde7056" providerId="ADAL" clId="{6FC6E936-F934-4CAF-9978-4FF4914385E3}" dt="2019-04-04T10:32:49.005" v="4173" actId="108"/>
          <ac:spMkLst>
            <pc:docMk/>
            <pc:sldMk cId="2943615084" sldId="537"/>
            <ac:spMk id="46" creationId="{00000000-0000-0000-0000-000000000000}"/>
          </ac:spMkLst>
        </pc:spChg>
      </pc:sldChg>
      <pc:sldChg chg="modSp add">
        <pc:chgData name="Jordi Gil Nieto" userId="dc92af6d-8bfc-4cf9-a920-242e8fde7056" providerId="ADAL" clId="{6FC6E936-F934-4CAF-9978-4FF4914385E3}" dt="2019-04-04T10:33:00.884" v="4175" actId="108"/>
        <pc:sldMkLst>
          <pc:docMk/>
          <pc:sldMk cId="1957730959" sldId="538"/>
        </pc:sldMkLst>
        <pc:spChg chg="mod">
          <ac:chgData name="Jordi Gil Nieto" userId="dc92af6d-8bfc-4cf9-a920-242e8fde7056" providerId="ADAL" clId="{6FC6E936-F934-4CAF-9978-4FF4914385E3}" dt="2019-04-04T10:33:00.884" v="4175" actId="108"/>
          <ac:spMkLst>
            <pc:docMk/>
            <pc:sldMk cId="1957730959" sldId="538"/>
            <ac:spMk id="46" creationId="{00000000-0000-0000-0000-000000000000}"/>
          </ac:spMkLst>
        </pc:spChg>
      </pc:sldChg>
      <pc:sldChg chg="modSp add">
        <pc:chgData name="Jordi Gil Nieto" userId="dc92af6d-8bfc-4cf9-a920-242e8fde7056" providerId="ADAL" clId="{6FC6E936-F934-4CAF-9978-4FF4914385E3}" dt="2019-04-04T10:33:11.748" v="4178" actId="108"/>
        <pc:sldMkLst>
          <pc:docMk/>
          <pc:sldMk cId="2069808195" sldId="539"/>
        </pc:sldMkLst>
        <pc:spChg chg="mod">
          <ac:chgData name="Jordi Gil Nieto" userId="dc92af6d-8bfc-4cf9-a920-242e8fde7056" providerId="ADAL" clId="{6FC6E936-F934-4CAF-9978-4FF4914385E3}" dt="2019-04-04T10:33:11.748" v="4178" actId="108"/>
          <ac:spMkLst>
            <pc:docMk/>
            <pc:sldMk cId="2069808195" sldId="539"/>
            <ac:spMk id="46" creationId="{00000000-0000-0000-0000-000000000000}"/>
          </ac:spMkLst>
        </pc:spChg>
      </pc:sldChg>
      <pc:sldChg chg="modSp add">
        <pc:chgData name="Jordi Gil Nieto" userId="dc92af6d-8bfc-4cf9-a920-242e8fde7056" providerId="ADAL" clId="{6FC6E936-F934-4CAF-9978-4FF4914385E3}" dt="2019-04-04T10:33:27.044" v="4180" actId="108"/>
        <pc:sldMkLst>
          <pc:docMk/>
          <pc:sldMk cId="903296892" sldId="540"/>
        </pc:sldMkLst>
        <pc:spChg chg="mod">
          <ac:chgData name="Jordi Gil Nieto" userId="dc92af6d-8bfc-4cf9-a920-242e8fde7056" providerId="ADAL" clId="{6FC6E936-F934-4CAF-9978-4FF4914385E3}" dt="2019-04-04T10:33:27.044" v="4180" actId="108"/>
          <ac:spMkLst>
            <pc:docMk/>
            <pc:sldMk cId="903296892" sldId="540"/>
            <ac:spMk id="46" creationId="{00000000-0000-0000-0000-000000000000}"/>
          </ac:spMkLst>
        </pc:spChg>
      </pc:sldChg>
    </pc:docChg>
  </pc:docChgLst>
  <pc:docChgLst>
    <pc:chgData name="Daniel Amores Alvarez" userId="S::damoresa@everis.com::ff5997fe-a964-45d1-b9c2-852633b5230a" providerId="AD" clId="Web-{66946E7E-D369-4415-BA61-A69B87E5B379}"/>
    <pc:docChg chg="addSld delSld modSld modSection">
      <pc:chgData name="Daniel Amores Alvarez" userId="S::damoresa@everis.com::ff5997fe-a964-45d1-b9c2-852633b5230a" providerId="AD" clId="Web-{66946E7E-D369-4415-BA61-A69B87E5B379}" dt="2020-01-13T12:24:26.549" v="505" actId="20577"/>
      <pc:docMkLst>
        <pc:docMk/>
      </pc:docMkLst>
      <pc:sldChg chg="del">
        <pc:chgData name="Daniel Amores Alvarez" userId="S::damoresa@everis.com::ff5997fe-a964-45d1-b9c2-852633b5230a" providerId="AD" clId="Web-{66946E7E-D369-4415-BA61-A69B87E5B379}" dt="2020-01-13T12:07:30.059" v="16"/>
        <pc:sldMkLst>
          <pc:docMk/>
          <pc:sldMk cId="436621792" sldId="527"/>
        </pc:sldMkLst>
      </pc:sldChg>
      <pc:sldChg chg="del">
        <pc:chgData name="Daniel Amores Alvarez" userId="S::damoresa@everis.com::ff5997fe-a964-45d1-b9c2-852633b5230a" providerId="AD" clId="Web-{66946E7E-D369-4415-BA61-A69B87E5B379}" dt="2020-01-13T12:07:30.040" v="15"/>
        <pc:sldMkLst>
          <pc:docMk/>
          <pc:sldMk cId="3764660779" sldId="528"/>
        </pc:sldMkLst>
      </pc:sldChg>
      <pc:sldChg chg="del">
        <pc:chgData name="Daniel Amores Alvarez" userId="S::damoresa@everis.com::ff5997fe-a964-45d1-b9c2-852633b5230a" providerId="AD" clId="Web-{66946E7E-D369-4415-BA61-A69B87E5B379}" dt="2020-01-13T12:07:30.020" v="13"/>
        <pc:sldMkLst>
          <pc:docMk/>
          <pc:sldMk cId="1800423798" sldId="529"/>
        </pc:sldMkLst>
      </pc:sldChg>
      <pc:sldChg chg="del">
        <pc:chgData name="Daniel Amores Alvarez" userId="S::damoresa@everis.com::ff5997fe-a964-45d1-b9c2-852633b5230a" providerId="AD" clId="Web-{66946E7E-D369-4415-BA61-A69B87E5B379}" dt="2020-01-13T12:07:29.999" v="11"/>
        <pc:sldMkLst>
          <pc:docMk/>
          <pc:sldMk cId="1302732954" sldId="534"/>
        </pc:sldMkLst>
      </pc:sldChg>
      <pc:sldChg chg="del">
        <pc:chgData name="Daniel Amores Alvarez" userId="S::damoresa@everis.com::ff5997fe-a964-45d1-b9c2-852633b5230a" providerId="AD" clId="Web-{66946E7E-D369-4415-BA61-A69B87E5B379}" dt="2020-01-13T12:07:30.061" v="17"/>
        <pc:sldMkLst>
          <pc:docMk/>
          <pc:sldMk cId="2943615084" sldId="537"/>
        </pc:sldMkLst>
      </pc:sldChg>
      <pc:sldChg chg="del">
        <pc:chgData name="Daniel Amores Alvarez" userId="S::damoresa@everis.com::ff5997fe-a964-45d1-b9c2-852633b5230a" providerId="AD" clId="Web-{66946E7E-D369-4415-BA61-A69B87E5B379}" dt="2020-01-13T12:07:30.021" v="14"/>
        <pc:sldMkLst>
          <pc:docMk/>
          <pc:sldMk cId="1957730959" sldId="538"/>
        </pc:sldMkLst>
      </pc:sldChg>
      <pc:sldChg chg="del">
        <pc:chgData name="Daniel Amores Alvarez" userId="S::damoresa@everis.com::ff5997fe-a964-45d1-b9c2-852633b5230a" providerId="AD" clId="Web-{66946E7E-D369-4415-BA61-A69B87E5B379}" dt="2020-01-13T12:07:30.001" v="12"/>
        <pc:sldMkLst>
          <pc:docMk/>
          <pc:sldMk cId="2069808195" sldId="539"/>
        </pc:sldMkLst>
      </pc:sldChg>
      <pc:sldChg chg="del">
        <pc:chgData name="Daniel Amores Alvarez" userId="S::damoresa@everis.com::ff5997fe-a964-45d1-b9c2-852633b5230a" providerId="AD" clId="Web-{66946E7E-D369-4415-BA61-A69B87E5B379}" dt="2020-01-13T12:07:36.598" v="19"/>
        <pc:sldMkLst>
          <pc:docMk/>
          <pc:sldMk cId="903296892" sldId="540"/>
        </pc:sldMkLst>
      </pc:sldChg>
      <pc:sldChg chg="addSp modSp">
        <pc:chgData name="Daniel Amores Alvarez" userId="S::damoresa@everis.com::ff5997fe-a964-45d1-b9c2-852633b5230a" providerId="AD" clId="Web-{66946E7E-D369-4415-BA61-A69B87E5B379}" dt="2020-01-13T12:21:41.611" v="385" actId="1076"/>
        <pc:sldMkLst>
          <pc:docMk/>
          <pc:sldMk cId="1791240125" sldId="542"/>
        </pc:sldMkLst>
        <pc:spChg chg="add mod">
          <ac:chgData name="Daniel Amores Alvarez" userId="S::damoresa@everis.com::ff5997fe-a964-45d1-b9c2-852633b5230a" providerId="AD" clId="Web-{66946E7E-D369-4415-BA61-A69B87E5B379}" dt="2020-01-13T12:21:41.611" v="385" actId="1076"/>
          <ac:spMkLst>
            <pc:docMk/>
            <pc:sldMk cId="1791240125" sldId="542"/>
            <ac:spMk id="16" creationId="{6909A535-8C53-4A37-B3E0-FC6F7A28423E}"/>
          </ac:spMkLst>
        </pc:spChg>
        <pc:spChg chg="mod">
          <ac:chgData name="Daniel Amores Alvarez" userId="S::damoresa@everis.com::ff5997fe-a964-45d1-b9c2-852633b5230a" providerId="AD" clId="Web-{66946E7E-D369-4415-BA61-A69B87E5B379}" dt="2020-01-13T12:07:24.079" v="8" actId="20577"/>
          <ac:spMkLst>
            <pc:docMk/>
            <pc:sldMk cId="1791240125" sldId="542"/>
            <ac:spMk id="46" creationId="{00000000-0000-0000-0000-000000000000}"/>
          </ac:spMkLst>
        </pc:spChg>
        <pc:picChg chg="add">
          <ac:chgData name="Daniel Amores Alvarez" userId="S::damoresa@everis.com::ff5997fe-a964-45d1-b9c2-852633b5230a" providerId="AD" clId="Web-{66946E7E-D369-4415-BA61-A69B87E5B379}" dt="2020-01-13T12:07:06.687" v="0"/>
          <ac:picMkLst>
            <pc:docMk/>
            <pc:sldMk cId="1791240125" sldId="542"/>
            <ac:picMk id="15" creationId="{DF4EF015-7992-4859-AC70-FEBECA67C1F6}"/>
          </ac:picMkLst>
        </pc:picChg>
      </pc:sldChg>
      <pc:sldChg chg="modSp add replId">
        <pc:chgData name="Daniel Amores Alvarez" userId="S::damoresa@everis.com::ff5997fe-a964-45d1-b9c2-852633b5230a" providerId="AD" clId="Web-{66946E7E-D369-4415-BA61-A69B87E5B379}" dt="2020-01-13T12:08:07.220" v="42" actId="20577"/>
        <pc:sldMkLst>
          <pc:docMk/>
          <pc:sldMk cId="2508201071" sldId="545"/>
        </pc:sldMkLst>
        <pc:spChg chg="mod">
          <ac:chgData name="Daniel Amores Alvarez" userId="S::damoresa@everis.com::ff5997fe-a964-45d1-b9c2-852633b5230a" providerId="AD" clId="Web-{66946E7E-D369-4415-BA61-A69B87E5B379}" dt="2020-01-13T12:08:07.220" v="42" actId="20577"/>
          <ac:spMkLst>
            <pc:docMk/>
            <pc:sldMk cId="2508201071" sldId="545"/>
            <ac:spMk id="46" creationId="{00000000-0000-0000-0000-000000000000}"/>
          </ac:spMkLst>
        </pc:spChg>
      </pc:sldChg>
      <pc:sldChg chg="add replId">
        <pc:chgData name="Daniel Amores Alvarez" userId="S::damoresa@everis.com::ff5997fe-a964-45d1-b9c2-852633b5230a" providerId="AD" clId="Web-{66946E7E-D369-4415-BA61-A69B87E5B379}" dt="2020-01-13T12:07:51.250" v="30"/>
        <pc:sldMkLst>
          <pc:docMk/>
          <pc:sldMk cId="588513800" sldId="546"/>
        </pc:sldMkLst>
      </pc:sldChg>
      <pc:sldChg chg="modSp add replId">
        <pc:chgData name="Daniel Amores Alvarez" userId="S::damoresa@everis.com::ff5997fe-a964-45d1-b9c2-852633b5230a" providerId="AD" clId="Web-{66946E7E-D369-4415-BA61-A69B87E5B379}" dt="2020-01-13T12:08:17.814" v="47" actId="20577"/>
        <pc:sldMkLst>
          <pc:docMk/>
          <pc:sldMk cId="4278879172" sldId="547"/>
        </pc:sldMkLst>
        <pc:spChg chg="mod">
          <ac:chgData name="Daniel Amores Alvarez" userId="S::damoresa@everis.com::ff5997fe-a964-45d1-b9c2-852633b5230a" providerId="AD" clId="Web-{66946E7E-D369-4415-BA61-A69B87E5B379}" dt="2020-01-13T12:08:17.814" v="47" actId="20577"/>
          <ac:spMkLst>
            <pc:docMk/>
            <pc:sldMk cId="4278879172" sldId="547"/>
            <ac:spMk id="46" creationId="{00000000-0000-0000-0000-000000000000}"/>
          </ac:spMkLst>
        </pc:spChg>
      </pc:sldChg>
      <pc:sldChg chg="add del replId">
        <pc:chgData name="Daniel Amores Alvarez" userId="S::damoresa@everis.com::ff5997fe-a964-45d1-b9c2-852633b5230a" providerId="AD" clId="Web-{66946E7E-D369-4415-BA61-A69B87E5B379}" dt="2020-01-13T12:08:28.339" v="54"/>
        <pc:sldMkLst>
          <pc:docMk/>
          <pc:sldMk cId="3723997582" sldId="548"/>
        </pc:sldMkLst>
      </pc:sldChg>
      <pc:sldChg chg="modSp add replId">
        <pc:chgData name="Daniel Amores Alvarez" userId="S::damoresa@everis.com::ff5997fe-a964-45d1-b9c2-852633b5230a" providerId="AD" clId="Web-{66946E7E-D369-4415-BA61-A69B87E5B379}" dt="2020-01-13T12:08:24.093" v="52" actId="20577"/>
        <pc:sldMkLst>
          <pc:docMk/>
          <pc:sldMk cId="3976969057" sldId="549"/>
        </pc:sldMkLst>
        <pc:spChg chg="mod">
          <ac:chgData name="Daniel Amores Alvarez" userId="S::damoresa@everis.com::ff5997fe-a964-45d1-b9c2-852633b5230a" providerId="AD" clId="Web-{66946E7E-D369-4415-BA61-A69B87E5B379}" dt="2020-01-13T12:08:24.093" v="52" actId="20577"/>
          <ac:spMkLst>
            <pc:docMk/>
            <pc:sldMk cId="3976969057" sldId="549"/>
            <ac:spMk id="46" creationId="{00000000-0000-0000-0000-000000000000}"/>
          </ac:spMkLst>
        </pc:spChg>
      </pc:sldChg>
      <pc:sldChg chg="modSp add replId">
        <pc:chgData name="Daniel Amores Alvarez" userId="S::damoresa@everis.com::ff5997fe-a964-45d1-b9c2-852633b5230a" providerId="AD" clId="Web-{66946E7E-D369-4415-BA61-A69B87E5B379}" dt="2020-01-13T12:20:44.330" v="321" actId="20577"/>
        <pc:sldMkLst>
          <pc:docMk/>
          <pc:sldMk cId="60774363" sldId="550"/>
        </pc:sldMkLst>
        <pc:spChg chg="mod">
          <ac:chgData name="Daniel Amores Alvarez" userId="S::damoresa@everis.com::ff5997fe-a964-45d1-b9c2-852633b5230a" providerId="AD" clId="Web-{66946E7E-D369-4415-BA61-A69B87E5B379}" dt="2020-01-13T12:20:44.330" v="321" actId="20577"/>
          <ac:spMkLst>
            <pc:docMk/>
            <pc:sldMk cId="60774363" sldId="550"/>
            <ac:spMk id="16" creationId="{6909A535-8C53-4A37-B3E0-FC6F7A28423E}"/>
          </ac:spMkLst>
        </pc:spChg>
        <pc:spChg chg="mod">
          <ac:chgData name="Daniel Amores Alvarez" userId="S::damoresa@everis.com::ff5997fe-a964-45d1-b9c2-852633b5230a" providerId="AD" clId="Web-{66946E7E-D369-4415-BA61-A69B87E5B379}" dt="2020-01-13T12:15:44.766" v="214" actId="20577"/>
          <ac:spMkLst>
            <pc:docMk/>
            <pc:sldMk cId="60774363" sldId="550"/>
            <ac:spMk id="46" creationId="{00000000-0000-0000-0000-000000000000}"/>
          </ac:spMkLst>
        </pc:spChg>
      </pc:sldChg>
      <pc:sldChg chg="modSp add replId">
        <pc:chgData name="Daniel Amores Alvarez" userId="S::damoresa@everis.com::ff5997fe-a964-45d1-b9c2-852633b5230a" providerId="AD" clId="Web-{66946E7E-D369-4415-BA61-A69B87E5B379}" dt="2020-01-13T12:08:59.273" v="126" actId="20577"/>
        <pc:sldMkLst>
          <pc:docMk/>
          <pc:sldMk cId="4162823876" sldId="551"/>
        </pc:sldMkLst>
        <pc:spChg chg="mod">
          <ac:chgData name="Daniel Amores Alvarez" userId="S::damoresa@everis.com::ff5997fe-a964-45d1-b9c2-852633b5230a" providerId="AD" clId="Web-{66946E7E-D369-4415-BA61-A69B87E5B379}" dt="2020-01-13T12:08:59.273" v="126" actId="20577"/>
          <ac:spMkLst>
            <pc:docMk/>
            <pc:sldMk cId="4162823876" sldId="551"/>
            <ac:spMk id="46" creationId="{00000000-0000-0000-0000-000000000000}"/>
          </ac:spMkLst>
        </pc:spChg>
      </pc:sldChg>
      <pc:sldChg chg="modSp add replId">
        <pc:chgData name="Daniel Amores Alvarez" userId="S::damoresa@everis.com::ff5997fe-a964-45d1-b9c2-852633b5230a" providerId="AD" clId="Web-{66946E7E-D369-4415-BA61-A69B87E5B379}" dt="2020-01-13T12:21:07.564" v="334" actId="20577"/>
        <pc:sldMkLst>
          <pc:docMk/>
          <pc:sldMk cId="1337246645" sldId="552"/>
        </pc:sldMkLst>
        <pc:spChg chg="mod">
          <ac:chgData name="Daniel Amores Alvarez" userId="S::damoresa@everis.com::ff5997fe-a964-45d1-b9c2-852633b5230a" providerId="AD" clId="Web-{66946E7E-D369-4415-BA61-A69B87E5B379}" dt="2020-01-13T12:21:07.564" v="334" actId="20577"/>
          <ac:spMkLst>
            <pc:docMk/>
            <pc:sldMk cId="1337246645" sldId="552"/>
            <ac:spMk id="16" creationId="{6909A535-8C53-4A37-B3E0-FC6F7A28423E}"/>
          </ac:spMkLst>
        </pc:spChg>
        <pc:spChg chg="mod">
          <ac:chgData name="Daniel Amores Alvarez" userId="S::damoresa@everis.com::ff5997fe-a964-45d1-b9c2-852633b5230a" providerId="AD" clId="Web-{66946E7E-D369-4415-BA61-A69B87E5B379}" dt="2020-01-13T12:16:08.891" v="256" actId="20577"/>
          <ac:spMkLst>
            <pc:docMk/>
            <pc:sldMk cId="1337246645" sldId="552"/>
            <ac:spMk id="46" creationId="{00000000-0000-0000-0000-000000000000}"/>
          </ac:spMkLst>
        </pc:spChg>
      </pc:sldChg>
      <pc:sldChg chg="add del replId">
        <pc:chgData name="Daniel Amores Alvarez" userId="S::damoresa@everis.com::ff5997fe-a964-45d1-b9c2-852633b5230a" providerId="AD" clId="Web-{66946E7E-D369-4415-BA61-A69B87E5B379}" dt="2020-01-13T12:15:51.641" v="219"/>
        <pc:sldMkLst>
          <pc:docMk/>
          <pc:sldMk cId="3249775528" sldId="552"/>
        </pc:sldMkLst>
      </pc:sldChg>
      <pc:sldChg chg="add del replId">
        <pc:chgData name="Daniel Amores Alvarez" userId="S::damoresa@everis.com::ff5997fe-a964-45d1-b9c2-852633b5230a" providerId="AD" clId="Web-{66946E7E-D369-4415-BA61-A69B87E5B379}" dt="2020-01-13T12:15:51.656" v="220"/>
        <pc:sldMkLst>
          <pc:docMk/>
          <pc:sldMk cId="183430687" sldId="553"/>
        </pc:sldMkLst>
      </pc:sldChg>
      <pc:sldChg chg="modSp add replId">
        <pc:chgData name="Daniel Amores Alvarez" userId="S::damoresa@everis.com::ff5997fe-a964-45d1-b9c2-852633b5230a" providerId="AD" clId="Web-{66946E7E-D369-4415-BA61-A69B87E5B379}" dt="2020-01-13T12:16:02.031" v="229" actId="20577"/>
        <pc:sldMkLst>
          <pc:docMk/>
          <pc:sldMk cId="3220759382" sldId="553"/>
        </pc:sldMkLst>
        <pc:spChg chg="mod">
          <ac:chgData name="Daniel Amores Alvarez" userId="S::damoresa@everis.com::ff5997fe-a964-45d1-b9c2-852633b5230a" providerId="AD" clId="Web-{66946E7E-D369-4415-BA61-A69B87E5B379}" dt="2020-01-13T12:16:02.031" v="229" actId="20577"/>
          <ac:spMkLst>
            <pc:docMk/>
            <pc:sldMk cId="3220759382" sldId="553"/>
            <ac:spMk id="46" creationId="{00000000-0000-0000-0000-000000000000}"/>
          </ac:spMkLst>
        </pc:spChg>
      </pc:sldChg>
      <pc:sldChg chg="modSp add replId">
        <pc:chgData name="Daniel Amores Alvarez" userId="S::damoresa@everis.com::ff5997fe-a964-45d1-b9c2-852633b5230a" providerId="AD" clId="Web-{66946E7E-D369-4415-BA61-A69B87E5B379}" dt="2020-01-13T12:24:26.549" v="505" actId="20577"/>
        <pc:sldMkLst>
          <pc:docMk/>
          <pc:sldMk cId="480044214" sldId="554"/>
        </pc:sldMkLst>
        <pc:spChg chg="mod">
          <ac:chgData name="Daniel Amores Alvarez" userId="S::damoresa@everis.com::ff5997fe-a964-45d1-b9c2-852633b5230a" providerId="AD" clId="Web-{66946E7E-D369-4415-BA61-A69B87E5B379}" dt="2020-01-13T12:24:26.549" v="505" actId="20577"/>
          <ac:spMkLst>
            <pc:docMk/>
            <pc:sldMk cId="480044214" sldId="554"/>
            <ac:spMk id="16" creationId="{6909A535-8C53-4A37-B3E0-FC6F7A28423E}"/>
          </ac:spMkLst>
        </pc:spChg>
        <pc:spChg chg="mod">
          <ac:chgData name="Daniel Amores Alvarez" userId="S::damoresa@everis.com::ff5997fe-a964-45d1-b9c2-852633b5230a" providerId="AD" clId="Web-{66946E7E-D369-4415-BA61-A69B87E5B379}" dt="2020-01-13T12:21:28.267" v="382" actId="20577"/>
          <ac:spMkLst>
            <pc:docMk/>
            <pc:sldMk cId="480044214" sldId="554"/>
            <ac:spMk id="46" creationId="{00000000-0000-0000-0000-000000000000}"/>
          </ac:spMkLst>
        </pc:spChg>
      </pc:sldChg>
      <pc:sldChg chg="modSp add replId">
        <pc:chgData name="Daniel Amores Alvarez" userId="S::damoresa@everis.com::ff5997fe-a964-45d1-b9c2-852633b5230a" providerId="AD" clId="Web-{66946E7E-D369-4415-BA61-A69B87E5B379}" dt="2020-01-13T12:21:22.548" v="359" actId="20577"/>
        <pc:sldMkLst>
          <pc:docMk/>
          <pc:sldMk cId="2761975210" sldId="555"/>
        </pc:sldMkLst>
        <pc:spChg chg="mod">
          <ac:chgData name="Daniel Amores Alvarez" userId="S::damoresa@everis.com::ff5997fe-a964-45d1-b9c2-852633b5230a" providerId="AD" clId="Web-{66946E7E-D369-4415-BA61-A69B87E5B379}" dt="2020-01-13T12:21:22.548" v="359" actId="20577"/>
          <ac:spMkLst>
            <pc:docMk/>
            <pc:sldMk cId="2761975210" sldId="555"/>
            <ac:spMk id="46" creationId="{00000000-0000-0000-0000-000000000000}"/>
          </ac:spMkLst>
        </pc:spChg>
      </pc:sldChg>
    </pc:docChg>
  </pc:docChgLst>
  <pc:docChgLst>
    <pc:chgData name="Daniel Amores Alvarez" userId="S::damoresa@everis.com::ff5997fe-a964-45d1-b9c2-852633b5230a" providerId="AD" clId="Web-{F52298E7-D596-40EA-849E-B07C5094B641}"/>
    <pc:docChg chg="addSld delSld modSld modSection">
      <pc:chgData name="Daniel Amores Alvarez" userId="S::damoresa@everis.com::ff5997fe-a964-45d1-b9c2-852633b5230a" providerId="AD" clId="Web-{F52298E7-D596-40EA-849E-B07C5094B641}" dt="2020-01-13T12:04:14.979" v="223"/>
      <pc:docMkLst>
        <pc:docMk/>
      </pc:docMkLst>
      <pc:sldChg chg="modSp">
        <pc:chgData name="Daniel Amores Alvarez" userId="S::damoresa@everis.com::ff5997fe-a964-45d1-b9c2-852633b5230a" providerId="AD" clId="Web-{F52298E7-D596-40EA-849E-B07C5094B641}" dt="2020-01-13T11:52:16.993" v="150" actId="20577"/>
        <pc:sldMkLst>
          <pc:docMk/>
          <pc:sldMk cId="924214621" sldId="266"/>
        </pc:sldMkLst>
        <pc:spChg chg="mod">
          <ac:chgData name="Daniel Amores Alvarez" userId="S::damoresa@everis.com::ff5997fe-a964-45d1-b9c2-852633b5230a" providerId="AD" clId="Web-{F52298E7-D596-40EA-849E-B07C5094B641}" dt="2020-01-13T11:52:16.993" v="150" actId="20577"/>
          <ac:spMkLst>
            <pc:docMk/>
            <pc:sldMk cId="924214621" sldId="266"/>
            <ac:spMk id="46" creationId="{00000000-0000-0000-0000-000000000000}"/>
          </ac:spMkLst>
        </pc:spChg>
      </pc:sldChg>
      <pc:sldChg chg="del">
        <pc:chgData name="Daniel Amores Alvarez" userId="S::damoresa@everis.com::ff5997fe-a964-45d1-b9c2-852633b5230a" providerId="AD" clId="Web-{F52298E7-D596-40EA-849E-B07C5094B641}" dt="2020-01-13T11:58:18.947" v="165"/>
        <pc:sldMkLst>
          <pc:docMk/>
          <pc:sldMk cId="1842254415" sldId="479"/>
        </pc:sldMkLst>
      </pc:sldChg>
      <pc:sldChg chg="del">
        <pc:chgData name="Daniel Amores Alvarez" userId="S::damoresa@everis.com::ff5997fe-a964-45d1-b9c2-852633b5230a" providerId="AD" clId="Web-{F52298E7-D596-40EA-849E-B07C5094B641}" dt="2020-01-13T11:59:30.213" v="184"/>
        <pc:sldMkLst>
          <pc:docMk/>
          <pc:sldMk cId="1538420332" sldId="523"/>
        </pc:sldMkLst>
      </pc:sldChg>
      <pc:sldChg chg="del">
        <pc:chgData name="Daniel Amores Alvarez" userId="S::damoresa@everis.com::ff5997fe-a964-45d1-b9c2-852633b5230a" providerId="AD" clId="Web-{F52298E7-D596-40EA-849E-B07C5094B641}" dt="2020-01-13T11:59:27.822" v="182"/>
        <pc:sldMkLst>
          <pc:docMk/>
          <pc:sldMk cId="2825012662" sldId="524"/>
        </pc:sldMkLst>
      </pc:sldChg>
      <pc:sldChg chg="del">
        <pc:chgData name="Daniel Amores Alvarez" userId="S::damoresa@everis.com::ff5997fe-a964-45d1-b9c2-852633b5230a" providerId="AD" clId="Web-{F52298E7-D596-40EA-849E-B07C5094B641}" dt="2020-01-13T11:59:36.416" v="188"/>
        <pc:sldMkLst>
          <pc:docMk/>
          <pc:sldMk cId="2976379869" sldId="525"/>
        </pc:sldMkLst>
      </pc:sldChg>
      <pc:sldChg chg="del">
        <pc:chgData name="Daniel Amores Alvarez" userId="S::damoresa@everis.com::ff5997fe-a964-45d1-b9c2-852633b5230a" providerId="AD" clId="Web-{F52298E7-D596-40EA-849E-B07C5094B641}" dt="2020-01-13T11:59:32.526" v="185"/>
        <pc:sldMkLst>
          <pc:docMk/>
          <pc:sldMk cId="1619765855" sldId="526"/>
        </pc:sldMkLst>
      </pc:sldChg>
      <pc:sldChg chg="del">
        <pc:chgData name="Daniel Amores Alvarez" userId="S::damoresa@everis.com::ff5997fe-a964-45d1-b9c2-852633b5230a" providerId="AD" clId="Web-{F52298E7-D596-40EA-849E-B07C5094B641}" dt="2020-01-13T11:59:35.135" v="187"/>
        <pc:sldMkLst>
          <pc:docMk/>
          <pc:sldMk cId="2965529254" sldId="530"/>
        </pc:sldMkLst>
      </pc:sldChg>
      <pc:sldChg chg="delSp modSp">
        <pc:chgData name="Daniel Amores Alvarez" userId="S::damoresa@everis.com::ff5997fe-a964-45d1-b9c2-852633b5230a" providerId="AD" clId="Web-{F52298E7-D596-40EA-849E-B07C5094B641}" dt="2020-01-13T12:04:14.979" v="223"/>
        <pc:sldMkLst>
          <pc:docMk/>
          <pc:sldMk cId="616148466" sldId="531"/>
        </pc:sldMkLst>
        <pc:spChg chg="del">
          <ac:chgData name="Daniel Amores Alvarez" userId="S::damoresa@everis.com::ff5997fe-a964-45d1-b9c2-852633b5230a" providerId="AD" clId="Web-{F52298E7-D596-40EA-849E-B07C5094B641}" dt="2020-01-13T12:04:14.979" v="223"/>
          <ac:spMkLst>
            <pc:docMk/>
            <pc:sldMk cId="616148466" sldId="531"/>
            <ac:spMk id="14" creationId="{6CBD4B3D-78A9-46CF-B7B8-8C171B3F1943}"/>
          </ac:spMkLst>
        </pc:spChg>
        <pc:spChg chg="mod">
          <ac:chgData name="Daniel Amores Alvarez" userId="S::damoresa@everis.com::ff5997fe-a964-45d1-b9c2-852633b5230a" providerId="AD" clId="Web-{F52298E7-D596-40EA-849E-B07C5094B641}" dt="2020-01-13T12:03:37.464" v="207" actId="20577"/>
          <ac:spMkLst>
            <pc:docMk/>
            <pc:sldMk cId="616148466" sldId="531"/>
            <ac:spMk id="15" creationId="{7BD50C13-A712-406E-8E16-C9230DE49BA2}"/>
          </ac:spMkLst>
        </pc:spChg>
        <pc:spChg chg="mod">
          <ac:chgData name="Daniel Amores Alvarez" userId="S::damoresa@everis.com::ff5997fe-a964-45d1-b9c2-852633b5230a" providerId="AD" clId="Web-{F52298E7-D596-40EA-849E-B07C5094B641}" dt="2020-01-13T11:58:16.494" v="162" actId="20577"/>
          <ac:spMkLst>
            <pc:docMk/>
            <pc:sldMk cId="616148466" sldId="531"/>
            <ac:spMk id="46" creationId="{00000000-0000-0000-0000-000000000000}"/>
          </ac:spMkLst>
        </pc:spChg>
      </pc:sldChg>
      <pc:sldChg chg="del">
        <pc:chgData name="Daniel Amores Alvarez" userId="S::damoresa@everis.com::ff5997fe-a964-45d1-b9c2-852633b5230a" providerId="AD" clId="Web-{F52298E7-D596-40EA-849E-B07C5094B641}" dt="2020-01-13T11:59:41.041" v="190"/>
        <pc:sldMkLst>
          <pc:docMk/>
          <pc:sldMk cId="2267118212" sldId="532"/>
        </pc:sldMkLst>
      </pc:sldChg>
      <pc:sldChg chg="del">
        <pc:chgData name="Daniel Amores Alvarez" userId="S::damoresa@everis.com::ff5997fe-a964-45d1-b9c2-852633b5230a" providerId="AD" clId="Web-{F52298E7-D596-40EA-849E-B07C5094B641}" dt="2020-01-13T11:59:34.011" v="186"/>
        <pc:sldMkLst>
          <pc:docMk/>
          <pc:sldMk cId="1251394239" sldId="533"/>
        </pc:sldMkLst>
      </pc:sldChg>
      <pc:sldChg chg="del">
        <pc:chgData name="Daniel Amores Alvarez" userId="S::damoresa@everis.com::ff5997fe-a964-45d1-b9c2-852633b5230a" providerId="AD" clId="Web-{F52298E7-D596-40EA-849E-B07C5094B641}" dt="2020-01-13T11:59:28.963" v="183"/>
        <pc:sldMkLst>
          <pc:docMk/>
          <pc:sldMk cId="412082376" sldId="535"/>
        </pc:sldMkLst>
      </pc:sldChg>
      <pc:sldChg chg="del">
        <pc:chgData name="Daniel Amores Alvarez" userId="S::damoresa@everis.com::ff5997fe-a964-45d1-b9c2-852633b5230a" providerId="AD" clId="Web-{F52298E7-D596-40EA-849E-B07C5094B641}" dt="2020-01-13T12:03:48.667" v="212"/>
        <pc:sldMkLst>
          <pc:docMk/>
          <pc:sldMk cId="855522413" sldId="536"/>
        </pc:sldMkLst>
      </pc:sldChg>
      <pc:sldChg chg="delSp modSp add del replId">
        <pc:chgData name="Daniel Amores Alvarez" userId="S::damoresa@everis.com::ff5997fe-a964-45d1-b9c2-852633b5230a" providerId="AD" clId="Web-{F52298E7-D596-40EA-849E-B07C5094B641}" dt="2020-01-13T12:03:27.027" v="203"/>
        <pc:sldMkLst>
          <pc:docMk/>
          <pc:sldMk cId="3412149654" sldId="541"/>
        </pc:sldMkLst>
        <pc:spChg chg="mod">
          <ac:chgData name="Daniel Amores Alvarez" userId="S::damoresa@everis.com::ff5997fe-a964-45d1-b9c2-852633b5230a" providerId="AD" clId="Web-{F52298E7-D596-40EA-849E-B07C5094B641}" dt="2020-01-13T11:59:23.698" v="179" actId="20577"/>
          <ac:spMkLst>
            <pc:docMk/>
            <pc:sldMk cId="3412149654" sldId="541"/>
            <ac:spMk id="14" creationId="{6CBD4B3D-78A9-46CF-B7B8-8C171B3F1943}"/>
          </ac:spMkLst>
        </pc:spChg>
        <pc:spChg chg="del">
          <ac:chgData name="Daniel Amores Alvarez" userId="S::damoresa@everis.com::ff5997fe-a964-45d1-b9c2-852633b5230a" providerId="AD" clId="Web-{F52298E7-D596-40EA-849E-B07C5094B641}" dt="2020-01-13T12:03:26.151" v="202"/>
          <ac:spMkLst>
            <pc:docMk/>
            <pc:sldMk cId="3412149654" sldId="541"/>
            <ac:spMk id="15" creationId="{7BD50C13-A712-406E-8E16-C9230DE49BA2}"/>
          </ac:spMkLst>
        </pc:spChg>
      </pc:sldChg>
      <pc:sldChg chg="delSp add replId">
        <pc:chgData name="Daniel Amores Alvarez" userId="S::damoresa@everis.com::ff5997fe-a964-45d1-b9c2-852633b5230a" providerId="AD" clId="Web-{F52298E7-D596-40EA-849E-B07C5094B641}" dt="2020-01-13T12:03:22.229" v="201"/>
        <pc:sldMkLst>
          <pc:docMk/>
          <pc:sldMk cId="1791240125" sldId="542"/>
        </pc:sldMkLst>
        <pc:spChg chg="del">
          <ac:chgData name="Daniel Amores Alvarez" userId="S::damoresa@everis.com::ff5997fe-a964-45d1-b9c2-852633b5230a" providerId="AD" clId="Web-{F52298E7-D596-40EA-849E-B07C5094B641}" dt="2020-01-13T12:03:22.229" v="201"/>
          <ac:spMkLst>
            <pc:docMk/>
            <pc:sldMk cId="1791240125" sldId="542"/>
            <ac:spMk id="15" creationId="{7BD50C13-A712-406E-8E16-C9230DE49BA2}"/>
          </ac:spMkLst>
        </pc:spChg>
      </pc:sldChg>
      <pc:sldChg chg="delSp modSp add replId">
        <pc:chgData name="Daniel Amores Alvarez" userId="S::damoresa@everis.com::ff5997fe-a964-45d1-b9c2-852633b5230a" providerId="AD" clId="Web-{F52298E7-D596-40EA-849E-B07C5094B641}" dt="2020-01-13T12:04:13.401" v="222"/>
        <pc:sldMkLst>
          <pc:docMk/>
          <pc:sldMk cId="2086390204" sldId="543"/>
        </pc:sldMkLst>
        <pc:spChg chg="del">
          <ac:chgData name="Daniel Amores Alvarez" userId="S::damoresa@everis.com::ff5997fe-a964-45d1-b9c2-852633b5230a" providerId="AD" clId="Web-{F52298E7-D596-40EA-849E-B07C5094B641}" dt="2020-01-13T12:04:13.401" v="222"/>
          <ac:spMkLst>
            <pc:docMk/>
            <pc:sldMk cId="2086390204" sldId="543"/>
            <ac:spMk id="14" creationId="{6CBD4B3D-78A9-46CF-B7B8-8C171B3F1943}"/>
          </ac:spMkLst>
        </pc:spChg>
        <pc:spChg chg="mod">
          <ac:chgData name="Daniel Amores Alvarez" userId="S::damoresa@everis.com::ff5997fe-a964-45d1-b9c2-852633b5230a" providerId="AD" clId="Web-{F52298E7-D596-40EA-849E-B07C5094B641}" dt="2020-01-13T12:03:44.417" v="210" actId="20577"/>
          <ac:spMkLst>
            <pc:docMk/>
            <pc:sldMk cId="2086390204" sldId="543"/>
            <ac:spMk id="15" creationId="{7BD50C13-A712-406E-8E16-C9230DE49BA2}"/>
          </ac:spMkLst>
        </pc:spChg>
        <pc:spChg chg="mod">
          <ac:chgData name="Daniel Amores Alvarez" userId="S::damoresa@everis.com::ff5997fe-a964-45d1-b9c2-852633b5230a" providerId="AD" clId="Web-{F52298E7-D596-40EA-849E-B07C5094B641}" dt="2020-01-13T12:03:17.089" v="198" actId="20577"/>
          <ac:spMkLst>
            <pc:docMk/>
            <pc:sldMk cId="2086390204" sldId="543"/>
            <ac:spMk id="46" creationId="{00000000-0000-0000-0000-000000000000}"/>
          </ac:spMkLst>
        </pc:spChg>
      </pc:sldChg>
      <pc:sldChg chg="modSp add replId">
        <pc:chgData name="Daniel Amores Alvarez" userId="S::damoresa@everis.com::ff5997fe-a964-45d1-b9c2-852633b5230a" providerId="AD" clId="Web-{F52298E7-D596-40EA-849E-B07C5094B641}" dt="2020-01-13T12:04:03.370" v="219" actId="20577"/>
        <pc:sldMkLst>
          <pc:docMk/>
          <pc:sldMk cId="1819518269" sldId="544"/>
        </pc:sldMkLst>
        <pc:spChg chg="mod">
          <ac:chgData name="Daniel Amores Alvarez" userId="S::damoresa@everis.com::ff5997fe-a964-45d1-b9c2-852633b5230a" providerId="AD" clId="Web-{F52298E7-D596-40EA-849E-B07C5094B641}" dt="2020-01-13T12:04:03.370" v="219" actId="20577"/>
          <ac:spMkLst>
            <pc:docMk/>
            <pc:sldMk cId="1819518269" sldId="544"/>
            <ac:spMk id="46" creationId="{00000000-0000-0000-0000-000000000000}"/>
          </ac:spMkLst>
        </pc:spChg>
      </pc:sldChg>
    </pc:docChg>
  </pc:docChgLst>
  <pc:docChgLst>
    <pc:chgData name="Daniel Amores Alvarez" userId="S::damoresa@everis.com::ff5997fe-a964-45d1-b9c2-852633b5230a" providerId="AD" clId="Web-{BB906ADF-AB14-4CF1-A6A5-B4D24E7860C2}"/>
    <pc:docChg chg="addSld modSld modSection">
      <pc:chgData name="Daniel Amores Alvarez" userId="S::damoresa@everis.com::ff5997fe-a964-45d1-b9c2-852633b5230a" providerId="AD" clId="Web-{BB906ADF-AB14-4CF1-A6A5-B4D24E7860C2}" dt="2020-01-15T11:43:37.602" v="5231" actId="1076"/>
      <pc:docMkLst>
        <pc:docMk/>
      </pc:docMkLst>
      <pc:sldChg chg="addSp modSp">
        <pc:chgData name="Daniel Amores Alvarez" userId="S::damoresa@everis.com::ff5997fe-a964-45d1-b9c2-852633b5230a" providerId="AD" clId="Web-{BB906ADF-AB14-4CF1-A6A5-B4D24E7860C2}" dt="2020-01-15T09:51:23.984" v="1508" actId="20577"/>
        <pc:sldMkLst>
          <pc:docMk/>
          <pc:sldMk cId="4162823876" sldId="551"/>
        </pc:sldMkLst>
        <pc:spChg chg="mod">
          <ac:chgData name="Daniel Amores Alvarez" userId="S::damoresa@everis.com::ff5997fe-a964-45d1-b9c2-852633b5230a" providerId="AD" clId="Web-{BB906ADF-AB14-4CF1-A6A5-B4D24E7860C2}" dt="2020-01-15T09:50:35.593" v="1434" actId="20577"/>
          <ac:spMkLst>
            <pc:docMk/>
            <pc:sldMk cId="4162823876" sldId="551"/>
            <ac:spMk id="2" creationId="{8624B431-4101-47F0-BB89-3368E781A537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09:50:13.811" v="1411" actId="20577"/>
          <ac:spMkLst>
            <pc:docMk/>
            <pc:sldMk cId="4162823876" sldId="551"/>
            <ac:spMk id="14" creationId="{DAACDC37-73F8-46F5-AA87-000E75188D38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09:51:23.984" v="1508" actId="20577"/>
          <ac:spMkLst>
            <pc:docMk/>
            <pc:sldMk cId="4162823876" sldId="551"/>
            <ac:spMk id="15" creationId="{7BD50C13-A712-406E-8E16-C9230DE49BA2}"/>
          </ac:spMkLst>
        </pc:spChg>
      </pc:sldChg>
      <pc:sldChg chg="modSp">
        <pc:chgData name="Daniel Amores Alvarez" userId="S::damoresa@everis.com::ff5997fe-a964-45d1-b9c2-852633b5230a" providerId="AD" clId="Web-{BB906ADF-AB14-4CF1-A6A5-B4D24E7860C2}" dt="2020-01-15T10:08:03.931" v="2696" actId="1076"/>
        <pc:sldMkLst>
          <pc:docMk/>
          <pc:sldMk cId="1337246645" sldId="552"/>
        </pc:sldMkLst>
        <pc:spChg chg="mod">
          <ac:chgData name="Daniel Amores Alvarez" userId="S::damoresa@everis.com::ff5997fe-a964-45d1-b9c2-852633b5230a" providerId="AD" clId="Web-{BB906ADF-AB14-4CF1-A6A5-B4D24E7860C2}" dt="2020-01-15T10:08:03.931" v="2696" actId="1076"/>
          <ac:spMkLst>
            <pc:docMk/>
            <pc:sldMk cId="1337246645" sldId="552"/>
            <ac:spMk id="16" creationId="{6909A535-8C53-4A37-B3E0-FC6F7A28423E}"/>
          </ac:spMkLst>
        </pc:spChg>
      </pc:sldChg>
      <pc:sldChg chg="addSp modSp">
        <pc:chgData name="Daniel Amores Alvarez" userId="S::damoresa@everis.com::ff5997fe-a964-45d1-b9c2-852633b5230a" providerId="AD" clId="Web-{BB906ADF-AB14-4CF1-A6A5-B4D24E7860C2}" dt="2020-01-15T10:59:36.416" v="3412" actId="1076"/>
        <pc:sldMkLst>
          <pc:docMk/>
          <pc:sldMk cId="3220759382" sldId="553"/>
        </pc:sldMkLst>
        <pc:spChg chg="mod">
          <ac:chgData name="Daniel Amores Alvarez" userId="S::damoresa@everis.com::ff5997fe-a964-45d1-b9c2-852633b5230a" providerId="AD" clId="Web-{BB906ADF-AB14-4CF1-A6A5-B4D24E7860C2}" dt="2020-01-15T10:58:30.182" v="3405" actId="14100"/>
          <ac:spMkLst>
            <pc:docMk/>
            <pc:sldMk cId="3220759382" sldId="553"/>
            <ac:spMk id="15" creationId="{7BD50C13-A712-406E-8E16-C9230DE49BA2}"/>
          </ac:spMkLst>
        </pc:spChg>
        <pc:picChg chg="add mod ord">
          <ac:chgData name="Daniel Amores Alvarez" userId="S::damoresa@everis.com::ff5997fe-a964-45d1-b9c2-852633b5230a" providerId="AD" clId="Web-{BB906ADF-AB14-4CF1-A6A5-B4D24E7860C2}" dt="2020-01-15T10:59:36.416" v="3412" actId="1076"/>
          <ac:picMkLst>
            <pc:docMk/>
            <pc:sldMk cId="3220759382" sldId="553"/>
            <ac:picMk id="2" creationId="{8ECDBB95-644A-4FEE-B1A9-34E8E408442E}"/>
          </ac:picMkLst>
        </pc:picChg>
      </pc:sldChg>
      <pc:sldChg chg="modSp">
        <pc:chgData name="Daniel Amores Alvarez" userId="S::damoresa@everis.com::ff5997fe-a964-45d1-b9c2-852633b5230a" providerId="AD" clId="Web-{BB906ADF-AB14-4CF1-A6A5-B4D24E7860C2}" dt="2020-01-15T11:05:42.901" v="4005" actId="20577"/>
        <pc:sldMkLst>
          <pc:docMk/>
          <pc:sldMk cId="2761975210" sldId="555"/>
        </pc:sldMkLst>
        <pc:spChg chg="mod">
          <ac:chgData name="Daniel Amores Alvarez" userId="S::damoresa@everis.com::ff5997fe-a964-45d1-b9c2-852633b5230a" providerId="AD" clId="Web-{BB906ADF-AB14-4CF1-A6A5-B4D24E7860C2}" dt="2020-01-15T11:05:42.901" v="4005" actId="20577"/>
          <ac:spMkLst>
            <pc:docMk/>
            <pc:sldMk cId="2761975210" sldId="555"/>
            <ac:spMk id="15" creationId="{7BD50C13-A712-406E-8E16-C9230DE49BA2}"/>
          </ac:spMkLst>
        </pc:spChg>
      </pc:sldChg>
      <pc:sldChg chg="modSp">
        <pc:chgData name="Daniel Amores Alvarez" userId="S::damoresa@everis.com::ff5997fe-a964-45d1-b9c2-852633b5230a" providerId="AD" clId="Web-{BB906ADF-AB14-4CF1-A6A5-B4D24E7860C2}" dt="2020-01-15T09:57:23.111" v="2002" actId="20577"/>
        <pc:sldMkLst>
          <pc:docMk/>
          <pc:sldMk cId="2728398026" sldId="556"/>
        </pc:sldMkLst>
        <pc:spChg chg="mod">
          <ac:chgData name="Daniel Amores Alvarez" userId="S::damoresa@everis.com::ff5997fe-a964-45d1-b9c2-852633b5230a" providerId="AD" clId="Web-{BB906ADF-AB14-4CF1-A6A5-B4D24E7860C2}" dt="2020-01-15T09:57:23.111" v="2002" actId="20577"/>
          <ac:spMkLst>
            <pc:docMk/>
            <pc:sldMk cId="2728398026" sldId="556"/>
            <ac:spMk id="15" creationId="{7BD50C13-A712-406E-8E16-C9230DE49BA2}"/>
          </ac:spMkLst>
        </pc:spChg>
      </pc:sldChg>
      <pc:sldChg chg="addSp delSp modSp add replId">
        <pc:chgData name="Daniel Amores Alvarez" userId="S::damoresa@everis.com::ff5997fe-a964-45d1-b9c2-852633b5230a" providerId="AD" clId="Web-{BB906ADF-AB14-4CF1-A6A5-B4D24E7860C2}" dt="2020-01-15T09:51:50.953" v="1534" actId="20577"/>
        <pc:sldMkLst>
          <pc:docMk/>
          <pc:sldMk cId="3125120265" sldId="557"/>
        </pc:sldMkLst>
        <pc:spChg chg="mod">
          <ac:chgData name="Daniel Amores Alvarez" userId="S::damoresa@everis.com::ff5997fe-a964-45d1-b9c2-852633b5230a" providerId="AD" clId="Web-{BB906ADF-AB14-4CF1-A6A5-B4D24E7860C2}" dt="2020-01-15T09:51:50.953" v="1534" actId="20577"/>
          <ac:spMkLst>
            <pc:docMk/>
            <pc:sldMk cId="3125120265" sldId="557"/>
            <ac:spMk id="2" creationId="{8624B431-4101-47F0-BB89-3368E781A537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09:47:17.685" v="1273" actId="14100"/>
          <ac:spMkLst>
            <pc:docMk/>
            <pc:sldMk cId="3125120265" sldId="557"/>
            <ac:spMk id="14" creationId="{DAACDC37-73F8-46F5-AA87-000E75188D38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09:46:11.638" v="1253" actId="20577"/>
          <ac:spMkLst>
            <pc:docMk/>
            <pc:sldMk cId="3125120265" sldId="557"/>
            <ac:spMk id="15" creationId="{7BD50C13-A712-406E-8E16-C9230DE49BA2}"/>
          </ac:spMkLst>
        </pc:spChg>
        <pc:spChg chg="add del mod">
          <ac:chgData name="Daniel Amores Alvarez" userId="S::damoresa@everis.com::ff5997fe-a964-45d1-b9c2-852633b5230a" providerId="AD" clId="Web-{BB906ADF-AB14-4CF1-A6A5-B4D24E7860C2}" dt="2020-01-15T09:47:05.873" v="1267"/>
          <ac:spMkLst>
            <pc:docMk/>
            <pc:sldMk cId="3125120265" sldId="557"/>
            <ac:spMk id="16" creationId="{368C45F2-FC25-41EB-B3C7-0A724F9C2DFE}"/>
          </ac:spMkLst>
        </pc:spChg>
      </pc:sldChg>
      <pc:sldChg chg="addSp delSp modSp add replId">
        <pc:chgData name="Daniel Amores Alvarez" userId="S::damoresa@everis.com::ff5997fe-a964-45d1-b9c2-852633b5230a" providerId="AD" clId="Web-{BB906ADF-AB14-4CF1-A6A5-B4D24E7860C2}" dt="2020-01-15T09:52:05.672" v="1585" actId="20577"/>
        <pc:sldMkLst>
          <pc:docMk/>
          <pc:sldMk cId="1876975774" sldId="558"/>
        </pc:sldMkLst>
        <pc:spChg chg="mod">
          <ac:chgData name="Daniel Amores Alvarez" userId="S::damoresa@everis.com::ff5997fe-a964-45d1-b9c2-852633b5230a" providerId="AD" clId="Web-{BB906ADF-AB14-4CF1-A6A5-B4D24E7860C2}" dt="2020-01-15T09:52:05.672" v="1585" actId="20577"/>
          <ac:spMkLst>
            <pc:docMk/>
            <pc:sldMk cId="1876975774" sldId="558"/>
            <ac:spMk id="2" creationId="{8624B431-4101-47F0-BB89-3368E781A537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09:49:55.749" v="1409" actId="20577"/>
          <ac:spMkLst>
            <pc:docMk/>
            <pc:sldMk cId="1876975774" sldId="558"/>
            <ac:spMk id="14" creationId="{DAACDC37-73F8-46F5-AA87-000E75188D38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09:48:31.451" v="1336" actId="14100"/>
          <ac:spMkLst>
            <pc:docMk/>
            <pc:sldMk cId="1876975774" sldId="558"/>
            <ac:spMk id="15" creationId="{7BD50C13-A712-406E-8E16-C9230DE49BA2}"/>
          </ac:spMkLst>
        </pc:spChg>
        <pc:spChg chg="add del mod">
          <ac:chgData name="Daniel Amores Alvarez" userId="S::damoresa@everis.com::ff5997fe-a964-45d1-b9c2-852633b5230a" providerId="AD" clId="Web-{BB906ADF-AB14-4CF1-A6A5-B4D24E7860C2}" dt="2020-01-15T09:48:26.779" v="1335"/>
          <ac:spMkLst>
            <pc:docMk/>
            <pc:sldMk cId="1876975774" sldId="558"/>
            <ac:spMk id="16" creationId="{AB7026BC-8151-4963-AA7C-2AF9982C22FB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09:49:29.983" v="1404" actId="20577"/>
          <ac:spMkLst>
            <pc:docMk/>
            <pc:sldMk cId="1876975774" sldId="558"/>
            <ac:spMk id="17" creationId="{D0797FC4-8B12-409D-8E36-303AC50FA04B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09:49:04.905" v="1347" actId="14100"/>
          <ac:spMkLst>
            <pc:docMk/>
            <pc:sldMk cId="1876975774" sldId="558"/>
            <ac:spMk id="18" creationId="{5E880823-0343-407D-AF9E-5BB5AC3C6F1F}"/>
          </ac:spMkLst>
        </pc:spChg>
      </pc:sldChg>
      <pc:sldChg chg="modSp add replId">
        <pc:chgData name="Daniel Amores Alvarez" userId="S::damoresa@everis.com::ff5997fe-a964-45d1-b9c2-852633b5230a" providerId="AD" clId="Web-{BB906ADF-AB14-4CF1-A6A5-B4D24E7860C2}" dt="2020-01-15T10:57:58.463" v="3403" actId="20577"/>
        <pc:sldMkLst>
          <pc:docMk/>
          <pc:sldMk cId="1979380824" sldId="559"/>
        </pc:sldMkLst>
        <pc:spChg chg="mod">
          <ac:chgData name="Daniel Amores Alvarez" userId="S::damoresa@everis.com::ff5997fe-a964-45d1-b9c2-852633b5230a" providerId="AD" clId="Web-{BB906ADF-AB14-4CF1-A6A5-B4D24E7860C2}" dt="2020-01-15T10:57:58.463" v="3403" actId="20577"/>
          <ac:spMkLst>
            <pc:docMk/>
            <pc:sldMk cId="1979380824" sldId="559"/>
            <ac:spMk id="15" creationId="{7BD50C13-A712-406E-8E16-C9230DE49BA2}"/>
          </ac:spMkLst>
        </pc:spChg>
      </pc:sldChg>
      <pc:sldChg chg="addSp modSp add replId">
        <pc:chgData name="Daniel Amores Alvarez" userId="S::damoresa@everis.com::ff5997fe-a964-45d1-b9c2-852633b5230a" providerId="AD" clId="Web-{BB906ADF-AB14-4CF1-A6A5-B4D24E7860C2}" dt="2020-01-15T11:43:37.602" v="5231" actId="1076"/>
        <pc:sldMkLst>
          <pc:docMk/>
          <pc:sldMk cId="1849465173" sldId="560"/>
        </pc:sldMkLst>
        <pc:spChg chg="add mod">
          <ac:chgData name="Daniel Amores Alvarez" userId="S::damoresa@everis.com::ff5997fe-a964-45d1-b9c2-852633b5230a" providerId="AD" clId="Web-{BB906ADF-AB14-4CF1-A6A5-B4D24E7860C2}" dt="2020-01-15T11:07:57.725" v="4183" actId="20577"/>
          <ac:spMkLst>
            <pc:docMk/>
            <pc:sldMk cId="1849465173" sldId="560"/>
            <ac:spMk id="4" creationId="{7039B450-479A-48D0-9400-AA1DA78223AB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11:42:20.570" v="5178" actId="20577"/>
          <ac:spMkLst>
            <pc:docMk/>
            <pc:sldMk cId="1849465173" sldId="560"/>
            <ac:spMk id="15" creationId="{7BD50C13-A712-406E-8E16-C9230DE49BA2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11:43:37.602" v="5231" actId="1076"/>
          <ac:spMkLst>
            <pc:docMk/>
            <pc:sldMk cId="1849465173" sldId="560"/>
            <ac:spMk id="17" creationId="{B28DACAC-C5B4-4FA2-9AE3-A474659D6BE1}"/>
          </ac:spMkLst>
        </pc:spChg>
        <pc:picChg chg="add mod">
          <ac:chgData name="Daniel Amores Alvarez" userId="S::damoresa@everis.com::ff5997fe-a964-45d1-b9c2-852633b5230a" providerId="AD" clId="Web-{BB906ADF-AB14-4CF1-A6A5-B4D24E7860C2}" dt="2020-01-15T11:33:05.664" v="4778" actId="1076"/>
          <ac:picMkLst>
            <pc:docMk/>
            <pc:sldMk cId="1849465173" sldId="560"/>
            <ac:picMk id="2" creationId="{7F55F897-ECF8-46CD-882C-45FF74FBAEBA}"/>
          </ac:picMkLst>
        </pc:picChg>
      </pc:sldChg>
      <pc:sldChg chg="addSp delSp modSp add replId">
        <pc:chgData name="Daniel Amores Alvarez" userId="S::damoresa@everis.com::ff5997fe-a964-45d1-b9c2-852633b5230a" providerId="AD" clId="Web-{BB906ADF-AB14-4CF1-A6A5-B4D24E7860C2}" dt="2020-01-15T11:32:36.695" v="4773" actId="20577"/>
        <pc:sldMkLst>
          <pc:docMk/>
          <pc:sldMk cId="2378695879" sldId="561"/>
        </pc:sldMkLst>
        <pc:spChg chg="add del mod">
          <ac:chgData name="Daniel Amores Alvarez" userId="S::damoresa@everis.com::ff5997fe-a964-45d1-b9c2-852633b5230a" providerId="AD" clId="Web-{BB906ADF-AB14-4CF1-A6A5-B4D24E7860C2}" dt="2020-01-15T11:23:45.054" v="4436"/>
          <ac:spMkLst>
            <pc:docMk/>
            <pc:sldMk cId="2378695879" sldId="561"/>
            <ac:spMk id="3" creationId="{DA17C332-365B-4222-AE3A-6B6148E65548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11:26:18.460" v="4581" actId="20577"/>
          <ac:spMkLst>
            <pc:docMk/>
            <pc:sldMk cId="2378695879" sldId="561"/>
            <ac:spMk id="5" creationId="{6F6BF734-4BF5-40CC-996E-E26F70A04B0A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11:25:25.804" v="4487" actId="20577"/>
          <ac:spMkLst>
            <pc:docMk/>
            <pc:sldMk cId="2378695879" sldId="561"/>
            <ac:spMk id="7" creationId="{22E21FF4-5B34-4EBC-9C72-A062D754DE6E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11:32:36.695" v="4773" actId="20577"/>
          <ac:spMkLst>
            <pc:docMk/>
            <pc:sldMk cId="2378695879" sldId="561"/>
            <ac:spMk id="8" creationId="{93105E4B-6DA7-4CFA-8164-A8D48B445BA4}"/>
          </ac:spMkLst>
        </pc:spChg>
        <pc:spChg chg="add mod">
          <ac:chgData name="Daniel Amores Alvarez" userId="S::damoresa@everis.com::ff5997fe-a964-45d1-b9c2-852633b5230a" providerId="AD" clId="Web-{BB906ADF-AB14-4CF1-A6A5-B4D24E7860C2}" dt="2020-01-15T11:25:31.601" v="4497" actId="20577"/>
          <ac:spMkLst>
            <pc:docMk/>
            <pc:sldMk cId="2378695879" sldId="561"/>
            <ac:spMk id="9" creationId="{DC1B2ADF-5902-43F8-AB17-7A5E9D974193}"/>
          </ac:spMkLst>
        </pc:spChg>
        <pc:spChg chg="del mod">
          <ac:chgData name="Daniel Amores Alvarez" userId="S::damoresa@everis.com::ff5997fe-a964-45d1-b9c2-852633b5230a" providerId="AD" clId="Web-{BB906ADF-AB14-4CF1-A6A5-B4D24E7860C2}" dt="2020-01-15T11:23:46.429" v="4438"/>
          <ac:spMkLst>
            <pc:docMk/>
            <pc:sldMk cId="2378695879" sldId="561"/>
            <ac:spMk id="15" creationId="{7BD50C13-A712-406E-8E16-C9230DE49BA2}"/>
          </ac:spMkLst>
        </pc:spChg>
        <pc:spChg chg="add del mod">
          <ac:chgData name="Daniel Amores Alvarez" userId="S::damoresa@everis.com::ff5997fe-a964-45d1-b9c2-852633b5230a" providerId="AD" clId="Web-{BB906ADF-AB14-4CF1-A6A5-B4D24E7860C2}" dt="2020-01-15T11:23:45.725" v="4437"/>
          <ac:spMkLst>
            <pc:docMk/>
            <pc:sldMk cId="2378695879" sldId="561"/>
            <ac:spMk id="17" creationId="{30D42031-251F-49E8-88FF-4D29FD55624B}"/>
          </ac:spMkLst>
        </pc:spChg>
        <pc:picChg chg="del">
          <ac:chgData name="Daniel Amores Alvarez" userId="S::damoresa@everis.com::ff5997fe-a964-45d1-b9c2-852633b5230a" providerId="AD" clId="Web-{BB906ADF-AB14-4CF1-A6A5-B4D24E7860C2}" dt="2020-01-15T11:22:01.522" v="4417"/>
          <ac:picMkLst>
            <pc:docMk/>
            <pc:sldMk cId="2378695879" sldId="561"/>
            <ac:picMk id="2" creationId="{7F55F897-ECF8-46CD-882C-45FF74FBAEBA}"/>
          </ac:picMkLst>
        </pc:picChg>
      </pc:sldChg>
      <pc:sldChg chg="modSp add replId">
        <pc:chgData name="Daniel Amores Alvarez" userId="S::damoresa@everis.com::ff5997fe-a964-45d1-b9c2-852633b5230a" providerId="AD" clId="Web-{BB906ADF-AB14-4CF1-A6A5-B4D24E7860C2}" dt="2020-01-15T11:32:32.601" v="4768" actId="20577"/>
        <pc:sldMkLst>
          <pc:docMk/>
          <pc:sldMk cId="3524603006" sldId="562"/>
        </pc:sldMkLst>
        <pc:spChg chg="mod">
          <ac:chgData name="Daniel Amores Alvarez" userId="S::damoresa@everis.com::ff5997fe-a964-45d1-b9c2-852633b5230a" providerId="AD" clId="Web-{BB906ADF-AB14-4CF1-A6A5-B4D24E7860C2}" dt="2020-01-15T11:32:32.601" v="4768" actId="20577"/>
          <ac:spMkLst>
            <pc:docMk/>
            <pc:sldMk cId="3524603006" sldId="562"/>
            <ac:spMk id="5" creationId="{6F6BF734-4BF5-40CC-996E-E26F70A04B0A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11:28:35.741" v="4599" actId="20577"/>
          <ac:spMkLst>
            <pc:docMk/>
            <pc:sldMk cId="3524603006" sldId="562"/>
            <ac:spMk id="7" creationId="{22E21FF4-5B34-4EBC-9C72-A062D754DE6E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11:29:48.585" v="4639" actId="20577"/>
          <ac:spMkLst>
            <pc:docMk/>
            <pc:sldMk cId="3524603006" sldId="562"/>
            <ac:spMk id="8" creationId="{93105E4B-6DA7-4CFA-8164-A8D48B445BA4}"/>
          </ac:spMkLst>
        </pc:spChg>
        <pc:spChg chg="mod">
          <ac:chgData name="Daniel Amores Alvarez" userId="S::damoresa@everis.com::ff5997fe-a964-45d1-b9c2-852633b5230a" providerId="AD" clId="Web-{BB906ADF-AB14-4CF1-A6A5-B4D24E7860C2}" dt="2020-01-15T11:27:04.398" v="4593" actId="20577"/>
          <ac:spMkLst>
            <pc:docMk/>
            <pc:sldMk cId="3524603006" sldId="562"/>
            <ac:spMk id="9" creationId="{DC1B2ADF-5902-43F8-AB17-7A5E9D974193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240C02-C639-4C32-B791-20C4E12FD2D8}" type="datetimeFigureOut">
              <a:rPr lang="es-ES" smtClean="0"/>
              <a:t>9/12/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CAB200-DB0D-4364-B1E6-7086E9FDF12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226226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CAB200-DB0D-4364-B1E6-7086E9FDF123}" type="slidenum">
              <a:rPr lang="es-ES" smtClean="0"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692966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https://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opensource.com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/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article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/17/6/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functional-javascript</a:t>
            </a: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https://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eloquentjavascript.net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/05_higher_order.html</a:t>
            </a:r>
          </a:p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https://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stackoverflow.com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/a/54719630/2395231</a:t>
            </a:r>
          </a:p>
        </p:txBody>
      </p:sp>
    </p:spTree>
    <p:extLst>
      <p:ext uri="{BB962C8B-B14F-4D97-AF65-F5344CB8AC3E}">
        <p14:creationId xmlns:p14="http://schemas.microsoft.com/office/powerpoint/2010/main" val="31009530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512838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Experimental ES6 module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feature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: https://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stackoverflow.com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/a/39436580/2395231</a:t>
            </a:r>
          </a:p>
        </p:txBody>
      </p:sp>
    </p:spTree>
    <p:extLst>
      <p:ext uri="{BB962C8B-B14F-4D97-AF65-F5344CB8AC3E}">
        <p14:creationId xmlns:p14="http://schemas.microsoft.com/office/powerpoint/2010/main" val="19024822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47259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CAB200-DB0D-4364-B1E6-7086E9FDF123}" type="slidenum">
              <a:rPr lang="es-ES" smtClean="0"/>
              <a:t>1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660587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8143624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46379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6849512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6084776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00774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3814318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es-ES" sz="12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229067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es-ES" sz="12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027386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es-ES" sz="12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754806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CAB200-DB0D-4364-B1E6-7086E9FDF123}" type="slidenum">
              <a:rPr lang="es-ES" smtClean="0"/>
              <a:t>2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5029486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221704769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281745433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7863201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426709506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19328567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8463820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0440571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s-ES" sz="1200" dirty="0">
                <a:latin typeface="Century Gothic" panose="020B0502020202020204" pitchFamily="34" charset="0"/>
              </a:rPr>
              <a:t>Usar </a:t>
            </a:r>
            <a:r>
              <a:rPr lang="es-ES" sz="1200" dirty="0" err="1">
                <a:latin typeface="Century Gothic" panose="020B0502020202020204" pitchFamily="34" charset="0"/>
              </a:rPr>
              <a:t>Mocky</a:t>
            </a:r>
            <a:r>
              <a:rPr lang="es-ES" sz="1200" dirty="0">
                <a:latin typeface="Century Gothic" panose="020B0502020202020204" pitchFamily="34" charset="0"/>
              </a:rPr>
              <a:t> para </a:t>
            </a:r>
            <a:r>
              <a:rPr lang="es-ES" sz="1200" dirty="0" err="1">
                <a:latin typeface="Century Gothic" panose="020B0502020202020204" pitchFamily="34" charset="0"/>
              </a:rPr>
              <a:t>mockear</a:t>
            </a:r>
            <a:r>
              <a:rPr lang="es-ES" sz="1200" dirty="0">
                <a:latin typeface="Century Gothic" panose="020B0502020202020204" pitchFamily="34" charset="0"/>
              </a:rPr>
              <a:t> las </a:t>
            </a:r>
            <a:r>
              <a:rPr lang="es-ES" sz="1200" dirty="0" err="1">
                <a:latin typeface="Century Gothic" panose="020B0502020202020204" pitchFamily="34" charset="0"/>
              </a:rPr>
              <a:t>APIs</a:t>
            </a:r>
            <a:r>
              <a:rPr lang="es-ES" sz="1200" dirty="0">
                <a:latin typeface="Century Gothic" panose="020B0502020202020204" pitchFamily="34" charset="0"/>
              </a:rPr>
              <a:t>: https://</a:t>
            </a:r>
            <a:r>
              <a:rPr lang="es-ES" sz="1200" dirty="0" err="1">
                <a:latin typeface="Century Gothic" panose="020B0502020202020204" pitchFamily="34" charset="0"/>
              </a:rPr>
              <a:t>designer.mocky.io</a:t>
            </a:r>
            <a:r>
              <a:rPr lang="es-ES" sz="1200" dirty="0">
                <a:latin typeface="Century Gothic" panose="020B0502020202020204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98606955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CAB200-DB0D-4364-B1E6-7086E9FDF123}" type="slidenum">
              <a:rPr lang="es-ES" smtClean="0"/>
              <a:t>3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2205216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40232203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011105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432578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975422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IIFEs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notes:</a:t>
            </a:r>
          </a:p>
          <a:p>
            <a:pPr marL="171450" marR="0" lvl="0" indent="-17145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They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are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immediately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invoked</a:t>
            </a: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  <a:p>
            <a:pPr marL="171450" marR="0" lvl="0" indent="-17145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They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must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be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expressions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(http://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speakingjs.com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/es5/ch07.html#expr_vs_stmt)</a:t>
            </a:r>
          </a:p>
          <a:p>
            <a:pPr marL="171450" marR="0" lvl="0" indent="-17145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The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trailing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semicolon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is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required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,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if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you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forget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it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between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two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IIFEs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,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your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code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won’t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work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.</a:t>
            </a:r>
          </a:p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They’re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usually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hard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to use and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maintain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and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they’re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not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the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best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thing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performance-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wise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, so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it’s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best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to use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them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as a </a:t>
            </a:r>
            <a:r>
              <a:rPr lang="es-ES" sz="1200" dirty="0" err="1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last</a:t>
            </a:r>
            <a:r>
              <a:rPr lang="es-ES" sz="12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 resort.</a:t>
            </a:r>
          </a:p>
        </p:txBody>
      </p:sp>
    </p:spTree>
    <p:extLst>
      <p:ext uri="{BB962C8B-B14F-4D97-AF65-F5344CB8AC3E}">
        <p14:creationId xmlns:p14="http://schemas.microsoft.com/office/powerpoint/2010/main" val="29533750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124343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s-ES" sz="12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85764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9/12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58853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9/12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832558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9/12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690638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0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608501" y="173125"/>
            <a:ext cx="1056112" cy="603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1" name="Objeto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7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21" name="Objeto 2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2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2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11568610" y="6291094"/>
            <a:ext cx="459316" cy="627405"/>
          </a:xfrm>
          <a:prstGeom prst="rect">
            <a:avLst/>
          </a:prstGeom>
          <a:ln w="3175">
            <a:miter lim="400000"/>
          </a:ln>
        </p:spPr>
        <p:txBody>
          <a:bodyPr lIns="26125" tIns="26125" rIns="26125" bIns="26125" anchor="ctr">
            <a:spAutoFit/>
          </a:bodyPr>
          <a:lstStyle>
            <a:lvl1pPr algn="r" defTabSz="825500">
              <a:defRPr sz="14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5pPr>
            <a:lvl6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6pPr>
            <a:lvl7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7pPr>
            <a:lvl8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8pPr>
            <a:lvl9pPr algn="ctr" defTabSz="825500">
              <a:defRPr sz="28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E60061AB-E3E3-4B82-98B1-945D99ABF5FB}" type="slidenum">
              <a:rPr lang="es-ES" sz="1867" smtClean="0"/>
              <a:pPr/>
              <a:t>‹Nº›</a:t>
            </a:fld>
            <a:endParaRPr lang="es-ES" sz="1867"/>
          </a:p>
        </p:txBody>
      </p:sp>
    </p:spTree>
    <p:extLst>
      <p:ext uri="{BB962C8B-B14F-4D97-AF65-F5344CB8AC3E}">
        <p14:creationId xmlns:p14="http://schemas.microsoft.com/office/powerpoint/2010/main" val="475659580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4"/>
          <p:cNvSpPr/>
          <p:nvPr userDrawn="1"/>
        </p:nvSpPr>
        <p:spPr>
          <a:xfrm>
            <a:off x="11658323" y="6475790"/>
            <a:ext cx="388561" cy="2914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FFFFFF"/>
          </a:solidFill>
          <a:ln w="12700">
            <a:solidFill>
              <a:srgbClr val="B5B5B5"/>
            </a:solidFill>
            <a:custDash>
              <a:ds d="100000" sp="200000"/>
            </a:custDash>
            <a:round/>
          </a:ln>
        </p:spPr>
        <p:txBody>
          <a:bodyPr lIns="0" tIns="0" rIns="0" bIns="0" anchor="ctr"/>
          <a:lstStyle/>
          <a:p>
            <a:endParaRPr sz="899">
              <a:solidFill>
                <a:srgbClr val="96969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hape 93"/>
          <p:cNvSpPr/>
          <p:nvPr userDrawn="1"/>
        </p:nvSpPr>
        <p:spPr>
          <a:xfrm flipV="1">
            <a:off x="972107" y="-1"/>
            <a:ext cx="1" cy="736049"/>
          </a:xfrm>
          <a:prstGeom prst="line">
            <a:avLst/>
          </a:prstGeom>
          <a:noFill/>
          <a:ln w="12700" cap="flat">
            <a:solidFill>
              <a:srgbClr val="FFFFFF"/>
            </a:solidFill>
            <a:prstDash val="sysDot"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pPr lvl="0" algn="l" defTabSz="456695">
              <a:defRPr sz="600">
                <a:latin typeface="+mj-lt"/>
                <a:ea typeface="+mj-ea"/>
                <a:cs typeface="+mj-cs"/>
                <a:sym typeface="Helvetica"/>
              </a:defRPr>
            </a:pPr>
            <a:endParaRPr sz="599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1537524" y="6498391"/>
            <a:ext cx="505464" cy="2462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0061AB-E3E3-4B82-98B1-945D99ABF5FB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2033153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9/12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320990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9/12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432715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9/12/20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196058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9/12/20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975048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9/12/20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902756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9/12/20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630763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9/12/20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614584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E057A-C0F9-41E1-BA24-0931FC6E2932}" type="datetimeFigureOut">
              <a:rPr lang="es-ES" smtClean="0"/>
              <a:t>9/12/20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888285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4E057A-C0F9-41E1-BA24-0931FC6E2932}" type="datetimeFigureOut">
              <a:rPr lang="es-ES" smtClean="0"/>
              <a:t>9/12/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39E578-735E-4A09-A451-CD1E99042D3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1466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12" Type="http://schemas.openxmlformats.org/officeDocument/2006/relationships/image" Target="../media/image11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11" Type="http://schemas.openxmlformats.org/officeDocument/2006/relationships/hyperlink" Target="https://requirejs.org/" TargetMode="External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12" Type="http://schemas.openxmlformats.org/officeDocument/2006/relationships/image" Target="../media/image1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3.png"/><Relationship Id="rId14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image" Target="../media/image15.png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10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microsoft.com/office/2007/relationships/hdphoto" Target="../media/hdphoto2.wdp"/><Relationship Id="rId11" Type="http://schemas.openxmlformats.org/officeDocument/2006/relationships/image" Target="../media/image3.png"/><Relationship Id="rId5" Type="http://schemas.openxmlformats.org/officeDocument/2006/relationships/image" Target="../media/image14.png"/><Relationship Id="rId10" Type="http://schemas.openxmlformats.org/officeDocument/2006/relationships/image" Target="../media/image9.tiff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8.tiff"/><Relationship Id="rId14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10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microsoft.com/office/2007/relationships/hdphoto" Target="../media/hdphoto2.wdp"/><Relationship Id="rId11" Type="http://schemas.openxmlformats.org/officeDocument/2006/relationships/image" Target="../media/image3.png"/><Relationship Id="rId5" Type="http://schemas.openxmlformats.org/officeDocument/2006/relationships/image" Target="../media/image14.png"/><Relationship Id="rId10" Type="http://schemas.openxmlformats.org/officeDocument/2006/relationships/image" Target="../media/image9.tiff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8.tif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10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microsoft.com/office/2007/relationships/hdphoto" Target="../media/hdphoto2.wdp"/><Relationship Id="rId11" Type="http://schemas.openxmlformats.org/officeDocument/2006/relationships/image" Target="../media/image3.png"/><Relationship Id="rId5" Type="http://schemas.openxmlformats.org/officeDocument/2006/relationships/image" Target="../media/image14.png"/><Relationship Id="rId10" Type="http://schemas.openxmlformats.org/officeDocument/2006/relationships/image" Target="../media/image9.tiff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8.tif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10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microsoft.com/office/2007/relationships/hdphoto" Target="../media/hdphoto2.wdp"/><Relationship Id="rId11" Type="http://schemas.openxmlformats.org/officeDocument/2006/relationships/image" Target="../media/image3.png"/><Relationship Id="rId5" Type="http://schemas.openxmlformats.org/officeDocument/2006/relationships/image" Target="../media/image14.png"/><Relationship Id="rId10" Type="http://schemas.openxmlformats.org/officeDocument/2006/relationships/image" Target="../media/image9.tiff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8.tif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emf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3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emf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3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emf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13" Type="http://schemas.microsoft.com/office/2007/relationships/hdphoto" Target="../media/hdphoto3.wdp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12" Type="http://schemas.openxmlformats.org/officeDocument/2006/relationships/image" Target="../media/image19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4.xml"/><Relationship Id="rId9" Type="http://schemas.openxmlformats.org/officeDocument/2006/relationships/image" Target="../media/image3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5.xml"/><Relationship Id="rId9" Type="http://schemas.openxmlformats.org/officeDocument/2006/relationships/image" Target="../media/image3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6.xml"/><Relationship Id="rId9" Type="http://schemas.openxmlformats.org/officeDocument/2006/relationships/image" Target="../media/image3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7.xml"/><Relationship Id="rId9" Type="http://schemas.openxmlformats.org/officeDocument/2006/relationships/image" Target="../media/image3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8.xml"/><Relationship Id="rId9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9.xml"/><Relationship Id="rId9" Type="http://schemas.openxmlformats.org/officeDocument/2006/relationships/image" Target="../media/image3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7.emf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30.xml"/><Relationship Id="rId9" Type="http://schemas.openxmlformats.org/officeDocument/2006/relationships/image" Target="../media/image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7.emf"/><Relationship Id="rId11" Type="http://schemas.openxmlformats.org/officeDocument/2006/relationships/image" Target="../media/image20.jpe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32.xml"/><Relationship Id="rId9" Type="http://schemas.openxmlformats.org/officeDocument/2006/relationships/image" Target="../media/image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tif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Entrada manual"/>
          <p:cNvSpPr/>
          <p:nvPr/>
        </p:nvSpPr>
        <p:spPr>
          <a:xfrm flipH="1">
            <a:off x="0" y="803614"/>
            <a:ext cx="9914082" cy="4963059"/>
          </a:xfrm>
          <a:prstGeom prst="flowChartManualInput">
            <a:avLst/>
          </a:prstGeom>
          <a:solidFill>
            <a:srgbClr val="537D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899" dirty="0">
              <a:latin typeface="Century Gothic" panose="020B0502020202020204" pitchFamily="34" charset="0"/>
            </a:endParaRPr>
          </a:p>
        </p:txBody>
      </p:sp>
      <p:sp>
        <p:nvSpPr>
          <p:cNvPr id="11" name="10 Rectángulo"/>
          <p:cNvSpPr/>
          <p:nvPr/>
        </p:nvSpPr>
        <p:spPr>
          <a:xfrm>
            <a:off x="868719" y="5041408"/>
            <a:ext cx="1755609" cy="330860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r>
              <a:rPr lang="en-US" sz="1550" dirty="0">
                <a:solidFill>
                  <a:schemeClr val="bg1"/>
                </a:solidFill>
                <a:latin typeface="Century Gothic"/>
                <a:ea typeface="Helvetica Neue Thin" charset="0"/>
                <a:cs typeface="Helvetica Neue Thin" charset="0"/>
              </a:rPr>
              <a:t>September 2020</a:t>
            </a:r>
            <a:endParaRPr lang="en-US" sz="1598" dirty="0">
              <a:solidFill>
                <a:schemeClr val="bg1"/>
              </a:solidFill>
              <a:latin typeface="Century Gothic" panose="020B0502020202020204" pitchFamily="34" charset="0"/>
              <a:ea typeface="Helvetica Neue Thin" charset="0"/>
              <a:cs typeface="Helvetica Neue Thin" charset="0"/>
            </a:endParaRPr>
          </a:p>
        </p:txBody>
      </p:sp>
      <p:cxnSp>
        <p:nvCxnSpPr>
          <p:cNvPr id="14" name="13 Conector recto"/>
          <p:cNvCxnSpPr/>
          <p:nvPr/>
        </p:nvCxnSpPr>
        <p:spPr>
          <a:xfrm>
            <a:off x="858422" y="5509741"/>
            <a:ext cx="244529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4 Conector recto"/>
          <p:cNvCxnSpPr/>
          <p:nvPr/>
        </p:nvCxnSpPr>
        <p:spPr>
          <a:xfrm>
            <a:off x="858422" y="4899998"/>
            <a:ext cx="244529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4 Rectángulo"/>
          <p:cNvSpPr/>
          <p:nvPr/>
        </p:nvSpPr>
        <p:spPr>
          <a:xfrm>
            <a:off x="733300" y="1675882"/>
            <a:ext cx="6800502" cy="1200329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en-US" sz="4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Helvetica Neue UltraLight" charset="0"/>
                <a:cs typeface="Helvetica Neue UltraLight" charset="0"/>
              </a:rPr>
              <a:t>JSNSD</a:t>
            </a:r>
          </a:p>
          <a:p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Helvetica Neue UltraLight" charset="0"/>
                <a:cs typeface="Helvetica Neue UltraLight" charset="0"/>
              </a:rPr>
              <a:t>OpenJS Node.js services developer</a:t>
            </a:r>
          </a:p>
        </p:txBody>
      </p:sp>
      <p:pic>
        <p:nvPicPr>
          <p:cNvPr id="13" name="Imagen 1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>
          <a:xfrm rot="325252">
            <a:off x="3112607" y="801484"/>
            <a:ext cx="9180000" cy="7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4 Rectángulo">
            <a:extLst>
              <a:ext uri="{FF2B5EF4-FFF2-40B4-BE49-F238E27FC236}">
                <a16:creationId xmlns:a16="http://schemas.microsoft.com/office/drawing/2014/main" id="{C0FD4F4F-0130-4D9C-8FD2-DC97ED6CEC02}"/>
              </a:ext>
            </a:extLst>
          </p:cNvPr>
          <p:cNvSpPr/>
          <p:nvPr/>
        </p:nvSpPr>
        <p:spPr>
          <a:xfrm>
            <a:off x="733300" y="3409578"/>
            <a:ext cx="680050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32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ea typeface="Helvetica Neue UltraLight" charset="0"/>
                <a:cs typeface="Helvetica Neue UltraLight" charset="0"/>
              </a:rPr>
              <a:t>Node.js</a:t>
            </a:r>
            <a:r>
              <a:rPr lang="es-ES" sz="3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ea typeface="Helvetica Neue UltraLight" charset="0"/>
                <a:cs typeface="Helvetica Neue UltraLight" charset="0"/>
              </a:rPr>
              <a:t> </a:t>
            </a:r>
            <a:r>
              <a:rPr lang="es-ES" sz="32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ea typeface="Helvetica Neue UltraLight" charset="0"/>
                <a:cs typeface="Helvetica Neue UltraLight" charset="0"/>
              </a:rPr>
              <a:t>basics</a:t>
            </a:r>
            <a:endParaRPr lang="es-ES" sz="3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ea typeface="Helvetica Neue UltraLight" charset="0"/>
              <a:cs typeface="Helvetica Neue UltraLight" charset="0"/>
            </a:endParaRPr>
          </a:p>
        </p:txBody>
      </p:sp>
      <p:sp>
        <p:nvSpPr>
          <p:cNvPr id="34" name="Rectángulo 33"/>
          <p:cNvSpPr/>
          <p:nvPr/>
        </p:nvSpPr>
        <p:spPr>
          <a:xfrm rot="325252">
            <a:off x="-58662" y="650535"/>
            <a:ext cx="12364709" cy="7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image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7912" y="252275"/>
            <a:ext cx="1757316" cy="931815"/>
          </a:xfrm>
          <a:prstGeom prst="rect">
            <a:avLst/>
          </a:prstGeom>
          <a:ln w="12700">
            <a:miter lim="4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7106" name="Picture 2">
            <a:extLst>
              <a:ext uri="{FF2B5EF4-FFF2-40B4-BE49-F238E27FC236}">
                <a16:creationId xmlns:a16="http://schemas.microsoft.com/office/drawing/2014/main" id="{080FAB76-7BAE-554C-BB22-08C731E37B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955" y="1485470"/>
            <a:ext cx="4589273" cy="458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88576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2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b="1" dirty="0">
                <a:latin typeface="Century Gothic"/>
              </a:rPr>
              <a:t>Features: Error management</a:t>
            </a: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b="1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b="1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A4FBB38A-5673-B343-8A22-C5F9D3568034}"/>
              </a:ext>
            </a:extLst>
          </p:cNvPr>
          <p:cNvSpPr/>
          <p:nvPr/>
        </p:nvSpPr>
        <p:spPr>
          <a:xfrm>
            <a:off x="8108355" y="1730965"/>
            <a:ext cx="3735301" cy="431060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  <a:cs typeface="Calibri"/>
              </a:rPr>
              <a:t>// Implement a function with </a:t>
            </a:r>
          </a:p>
          <a:p>
            <a:r>
              <a:rPr lang="en-US" sz="1200" dirty="0">
                <a:latin typeface="Consolas"/>
                <a:cs typeface="Calibri"/>
              </a:rPr>
              <a:t>// asynchronous behavior via a </a:t>
            </a:r>
            <a:r>
              <a:rPr lang="en-US" sz="1200" i="1" dirty="0">
                <a:latin typeface="Consolas"/>
                <a:cs typeface="Calibri"/>
              </a:rPr>
              <a:t>promise</a:t>
            </a:r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const </a:t>
            </a:r>
            <a:r>
              <a:rPr lang="en-US" sz="1200" dirty="0" err="1">
                <a:latin typeface="Consolas"/>
                <a:cs typeface="Calibri"/>
              </a:rPr>
              <a:t>sampleFn</a:t>
            </a:r>
            <a:r>
              <a:rPr lang="en-US" sz="1200" dirty="0">
                <a:latin typeface="Consolas"/>
                <a:cs typeface="Calibri"/>
              </a:rPr>
              <a:t> = function() {</a:t>
            </a:r>
          </a:p>
          <a:p>
            <a:r>
              <a:rPr lang="en-US" sz="1200" dirty="0">
                <a:latin typeface="Consolas"/>
                <a:cs typeface="Calibri"/>
              </a:rPr>
              <a:t>  return new Promise((resolve, reject) =&gt; {</a:t>
            </a:r>
          </a:p>
          <a:p>
            <a:r>
              <a:rPr lang="en-US" sz="1200" dirty="0">
                <a:latin typeface="Consolas"/>
                <a:cs typeface="Calibri"/>
              </a:rPr>
              <a:t>    </a:t>
            </a:r>
            <a:r>
              <a:rPr lang="en-US" sz="1200" dirty="0" err="1">
                <a:latin typeface="Consolas"/>
                <a:cs typeface="Calibri"/>
              </a:rPr>
              <a:t>setTimeout</a:t>
            </a:r>
            <a:r>
              <a:rPr lang="en-US" sz="1200" dirty="0">
                <a:latin typeface="Consolas"/>
                <a:cs typeface="Calibri"/>
              </a:rPr>
              <a:t>(() =&gt; {</a:t>
            </a:r>
          </a:p>
          <a:p>
            <a:r>
              <a:rPr lang="en-US" sz="1200" dirty="0">
                <a:latin typeface="Consolas"/>
                <a:cs typeface="Calibri"/>
              </a:rPr>
              <a:t>      reject(‘Sample error!’);</a:t>
            </a:r>
          </a:p>
          <a:p>
            <a:r>
              <a:rPr lang="en-US" sz="1200" dirty="0">
                <a:latin typeface="Consolas"/>
                <a:cs typeface="Calibri"/>
              </a:rPr>
              <a:t>    }, 2000);</a:t>
            </a:r>
          </a:p>
          <a:p>
            <a:r>
              <a:rPr lang="en-US" sz="1200" dirty="0">
                <a:latin typeface="Consolas"/>
                <a:cs typeface="Calibri"/>
              </a:rPr>
              <a:t>  });</a:t>
            </a:r>
          </a:p>
          <a:p>
            <a:r>
              <a:rPr lang="en-US" sz="1200" dirty="0">
                <a:latin typeface="Consolas"/>
                <a:cs typeface="Calibri"/>
              </a:rPr>
              <a:t>}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Invoke the function and subscribe to</a:t>
            </a:r>
          </a:p>
          <a:p>
            <a:r>
              <a:rPr lang="en-US" sz="1200" dirty="0">
                <a:latin typeface="Consolas"/>
                <a:cs typeface="Calibri"/>
              </a:rPr>
              <a:t>// the promise results</a:t>
            </a:r>
          </a:p>
          <a:p>
            <a:r>
              <a:rPr lang="en-US" sz="1200" dirty="0" err="1">
                <a:latin typeface="Consolas"/>
                <a:cs typeface="Calibri"/>
              </a:rPr>
              <a:t>sampleFn</a:t>
            </a:r>
            <a:r>
              <a:rPr lang="en-US" sz="1200" dirty="0">
                <a:latin typeface="Consolas"/>
                <a:cs typeface="Calibri"/>
              </a:rPr>
              <a:t>()</a:t>
            </a:r>
          </a:p>
          <a:p>
            <a:r>
              <a:rPr lang="en-US" sz="1200" dirty="0">
                <a:latin typeface="Consolas"/>
                <a:cs typeface="Calibri"/>
              </a:rPr>
              <a:t>  .then(</a:t>
            </a:r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)</a:t>
            </a:r>
          </a:p>
          <a:p>
            <a:r>
              <a:rPr lang="en-US" sz="1200" dirty="0">
                <a:latin typeface="Consolas"/>
                <a:cs typeface="Calibri"/>
              </a:rPr>
              <a:t>  .catch(</a:t>
            </a:r>
            <a:r>
              <a:rPr lang="en-US" sz="1200" dirty="0" err="1">
                <a:latin typeface="Consolas"/>
                <a:cs typeface="Calibri"/>
              </a:rPr>
              <a:t>console.error</a:t>
            </a:r>
            <a:r>
              <a:rPr lang="en-US" sz="1200" dirty="0">
                <a:latin typeface="Consolas"/>
                <a:cs typeface="Calibri"/>
              </a:rPr>
              <a:t>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We will use </a:t>
            </a:r>
            <a:r>
              <a:rPr lang="en-US" sz="1200" i="1" dirty="0">
                <a:latin typeface="Consolas"/>
                <a:cs typeface="Calibri"/>
              </a:rPr>
              <a:t>async/await</a:t>
            </a:r>
            <a:r>
              <a:rPr lang="en-US" sz="1200" dirty="0">
                <a:latin typeface="Consolas"/>
                <a:cs typeface="Calibri"/>
              </a:rPr>
              <a:t> on a later </a:t>
            </a:r>
          </a:p>
          <a:p>
            <a:r>
              <a:rPr lang="en-US" sz="1200" dirty="0">
                <a:latin typeface="Consolas"/>
                <a:cs typeface="Calibri"/>
              </a:rPr>
              <a:t>// section</a:t>
            </a:r>
          </a:p>
        </p:txBody>
      </p:sp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>
                <a:solidFill>
                  <a:schemeClr val="bg1"/>
                </a:solidFill>
                <a:latin typeface="Century Gothic"/>
              </a:rPr>
              <a:t>Introduction</a:t>
            </a:r>
            <a:endParaRPr lang="es-ES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37" name="Picture 577">
            <a:extLst>
              <a:ext uri="{FF2B5EF4-FFF2-40B4-BE49-F238E27FC236}">
                <a16:creationId xmlns:a16="http://schemas.microsoft.com/office/drawing/2014/main" id="{468E00A5-3FA0-A848-B9BF-6487463C30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0" y="1096874"/>
            <a:ext cx="1268184" cy="1268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23">
            <a:extLst>
              <a:ext uri="{FF2B5EF4-FFF2-40B4-BE49-F238E27FC236}">
                <a16:creationId xmlns:a16="http://schemas.microsoft.com/office/drawing/2014/main" id="{D17781F2-1020-4343-B88F-03234841DEB0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JavaScript</a:t>
            </a:r>
            <a:endParaRPr lang="es-ES" i="1" dirty="0"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EAD13079-1028-D148-B500-00D4BBEF75E6}"/>
              </a:ext>
            </a:extLst>
          </p:cNvPr>
          <p:cNvSpPr/>
          <p:nvPr/>
        </p:nvSpPr>
        <p:spPr>
          <a:xfrm>
            <a:off x="4428984" y="1730966"/>
            <a:ext cx="3506703" cy="431060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  <a:cs typeface="Calibri"/>
              </a:rPr>
              <a:t>// Implement a sample event emitter</a:t>
            </a:r>
          </a:p>
          <a:p>
            <a:r>
              <a:rPr lang="en-US" sz="1200" dirty="0">
                <a:latin typeface="Consolas"/>
                <a:cs typeface="Calibri"/>
              </a:rPr>
              <a:t>// which emits error events every</a:t>
            </a:r>
          </a:p>
          <a:p>
            <a:r>
              <a:rPr lang="en-US" sz="1200" dirty="0">
                <a:latin typeface="Consolas"/>
                <a:cs typeface="Calibri"/>
              </a:rPr>
              <a:t>// 5 seconds</a:t>
            </a:r>
          </a:p>
          <a:p>
            <a:r>
              <a:rPr lang="en-US" sz="1200" dirty="0">
                <a:latin typeface="Consolas"/>
                <a:cs typeface="Calibri"/>
              </a:rPr>
              <a:t>const </a:t>
            </a:r>
            <a:r>
              <a:rPr lang="en-US" sz="1200" dirty="0" err="1">
                <a:latin typeface="Consolas"/>
                <a:cs typeface="Calibri"/>
              </a:rPr>
              <a:t>EventEmitter</a:t>
            </a:r>
            <a:r>
              <a:rPr lang="en-US" sz="1200" dirty="0">
                <a:latin typeface="Consolas"/>
                <a:cs typeface="Calibri"/>
              </a:rPr>
              <a:t> = require(‘events’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class </a:t>
            </a:r>
            <a:r>
              <a:rPr lang="en-US" sz="1200" dirty="0" err="1">
                <a:latin typeface="Consolas"/>
                <a:cs typeface="Calibri"/>
              </a:rPr>
              <a:t>SampleEmitter</a:t>
            </a:r>
            <a:r>
              <a:rPr lang="en-US" sz="1200" dirty="0">
                <a:latin typeface="Consolas"/>
                <a:cs typeface="Calibri"/>
              </a:rPr>
              <a:t> extends </a:t>
            </a:r>
            <a:r>
              <a:rPr lang="en-US" sz="1200" dirty="0" err="1">
                <a:latin typeface="Consolas"/>
                <a:cs typeface="Calibri"/>
              </a:rPr>
              <a:t>EventEmitter</a:t>
            </a:r>
            <a:r>
              <a:rPr lang="en-US" sz="1200" dirty="0">
                <a:latin typeface="Consolas"/>
                <a:cs typeface="Calibri"/>
              </a:rPr>
              <a:t> {</a:t>
            </a:r>
          </a:p>
          <a:p>
            <a:r>
              <a:rPr lang="en-US" sz="1200" dirty="0">
                <a:latin typeface="Consolas"/>
                <a:cs typeface="Calibri"/>
              </a:rPr>
              <a:t>  constructor() {</a:t>
            </a:r>
          </a:p>
          <a:p>
            <a:r>
              <a:rPr lang="en-US" sz="1200" dirty="0">
                <a:latin typeface="Consolas"/>
                <a:cs typeface="Calibri"/>
              </a:rPr>
              <a:t>    super();</a:t>
            </a:r>
          </a:p>
          <a:p>
            <a:r>
              <a:rPr lang="en-US" sz="1200" dirty="0">
                <a:latin typeface="Consolas"/>
                <a:cs typeface="Calibri"/>
              </a:rPr>
              <a:t>    </a:t>
            </a:r>
            <a:r>
              <a:rPr lang="en-US" sz="1200" dirty="0" err="1">
                <a:latin typeface="Consolas"/>
                <a:cs typeface="Calibri"/>
              </a:rPr>
              <a:t>setInterval</a:t>
            </a:r>
            <a:r>
              <a:rPr lang="en-US" sz="1200" dirty="0">
                <a:latin typeface="Consolas"/>
                <a:cs typeface="Calibri"/>
              </a:rPr>
              <a:t>(() =&gt; {</a:t>
            </a:r>
          </a:p>
          <a:p>
            <a:r>
              <a:rPr lang="en-US" sz="1200" dirty="0">
                <a:latin typeface="Consolas"/>
                <a:cs typeface="Calibri"/>
              </a:rPr>
              <a:t>      </a:t>
            </a:r>
            <a:r>
              <a:rPr lang="en-US" sz="1200" dirty="0" err="1">
                <a:latin typeface="Consolas"/>
                <a:cs typeface="Calibri"/>
              </a:rPr>
              <a:t>this.emit</a:t>
            </a:r>
            <a:r>
              <a:rPr lang="en-US" sz="1200" dirty="0">
                <a:latin typeface="Consolas"/>
                <a:cs typeface="Calibri"/>
              </a:rPr>
              <a:t>(‘data’, ‘Sample data’);</a:t>
            </a:r>
          </a:p>
          <a:p>
            <a:r>
              <a:rPr lang="en-US" sz="1200" dirty="0">
                <a:latin typeface="Consolas"/>
                <a:cs typeface="Calibri"/>
              </a:rPr>
              <a:t>    }, 1000);</a:t>
            </a:r>
          </a:p>
          <a:p>
            <a:r>
              <a:rPr lang="en-US" sz="1200" dirty="0">
                <a:latin typeface="Consolas"/>
                <a:cs typeface="Calibri"/>
              </a:rPr>
              <a:t>    </a:t>
            </a:r>
            <a:r>
              <a:rPr lang="en-US" sz="1200" dirty="0" err="1">
                <a:latin typeface="Consolas"/>
                <a:cs typeface="Calibri"/>
              </a:rPr>
              <a:t>setInterval</a:t>
            </a:r>
            <a:r>
              <a:rPr lang="en-US" sz="1200" dirty="0">
                <a:latin typeface="Consolas"/>
                <a:cs typeface="Calibri"/>
              </a:rPr>
              <a:t>(() =&gt; {</a:t>
            </a:r>
          </a:p>
          <a:p>
            <a:r>
              <a:rPr lang="en-US" sz="1200" dirty="0">
                <a:latin typeface="Consolas"/>
                <a:cs typeface="Calibri"/>
              </a:rPr>
              <a:t>      </a:t>
            </a:r>
            <a:r>
              <a:rPr lang="en-US" sz="1200" dirty="0" err="1">
                <a:latin typeface="Consolas"/>
                <a:cs typeface="Calibri"/>
              </a:rPr>
              <a:t>this.emit</a:t>
            </a:r>
            <a:r>
              <a:rPr lang="en-US" sz="1200" dirty="0">
                <a:latin typeface="Consolas"/>
                <a:cs typeface="Calibri"/>
              </a:rPr>
              <a:t>(‘error’, new Error(‘Sample error!'));</a:t>
            </a:r>
          </a:p>
          <a:p>
            <a:r>
              <a:rPr lang="en-US" sz="1200" dirty="0">
                <a:latin typeface="Consolas"/>
                <a:cs typeface="Calibri"/>
              </a:rPr>
              <a:t>    }, 5000);</a:t>
            </a:r>
          </a:p>
          <a:p>
            <a:r>
              <a:rPr lang="en-US" sz="1200" dirty="0">
                <a:latin typeface="Consolas"/>
                <a:cs typeface="Calibri"/>
              </a:rPr>
              <a:t>  }</a:t>
            </a:r>
          </a:p>
          <a:p>
            <a:r>
              <a:rPr lang="en-US" sz="1200" dirty="0">
                <a:latin typeface="Consolas"/>
                <a:cs typeface="Calibri"/>
              </a:rPr>
              <a:t>}</a:t>
            </a:r>
          </a:p>
          <a:p>
            <a:r>
              <a:rPr lang="en-US" sz="1200" dirty="0">
                <a:latin typeface="Consolas"/>
                <a:cs typeface="Calibri"/>
              </a:rPr>
              <a:t>const emitter = new </a:t>
            </a:r>
            <a:r>
              <a:rPr lang="en-US" sz="1200" dirty="0" err="1">
                <a:latin typeface="Consolas"/>
                <a:cs typeface="Calibri"/>
              </a:rPr>
              <a:t>SampleEmitter</a:t>
            </a:r>
            <a:r>
              <a:rPr lang="en-US" sz="1200" dirty="0">
                <a:latin typeface="Consolas"/>
                <a:cs typeface="Calibri"/>
              </a:rPr>
              <a:t>();</a:t>
            </a:r>
          </a:p>
          <a:p>
            <a:r>
              <a:rPr lang="en-US" sz="1200" dirty="0" err="1">
                <a:latin typeface="Consolas"/>
                <a:cs typeface="Calibri"/>
              </a:rPr>
              <a:t>emitter.on</a:t>
            </a:r>
            <a:r>
              <a:rPr lang="en-US" sz="1200" dirty="0">
                <a:latin typeface="Consolas"/>
                <a:cs typeface="Calibri"/>
              </a:rPr>
              <a:t>(‘data’, </a:t>
            </a:r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)</a:t>
            </a:r>
          </a:p>
          <a:p>
            <a:r>
              <a:rPr lang="en-US" sz="1200" dirty="0" err="1">
                <a:latin typeface="Consolas"/>
                <a:cs typeface="Calibri"/>
              </a:rPr>
              <a:t>emitter.on</a:t>
            </a:r>
            <a:r>
              <a:rPr lang="en-US" sz="1200" dirty="0">
                <a:latin typeface="Consolas"/>
                <a:cs typeface="Calibri"/>
              </a:rPr>
              <a:t>(‘error’, (err) =&gt; {</a:t>
            </a:r>
          </a:p>
          <a:p>
            <a:r>
              <a:rPr lang="en-US" sz="1200" dirty="0">
                <a:latin typeface="Consolas"/>
                <a:cs typeface="Calibri"/>
              </a:rPr>
              <a:t>  </a:t>
            </a:r>
            <a:r>
              <a:rPr lang="en-US" sz="1200" dirty="0" err="1">
                <a:latin typeface="Consolas"/>
                <a:cs typeface="Calibri"/>
              </a:rPr>
              <a:t>console.error</a:t>
            </a:r>
            <a:r>
              <a:rPr lang="en-US" sz="1200" dirty="0">
                <a:latin typeface="Consolas"/>
                <a:cs typeface="Calibri"/>
              </a:rPr>
              <a:t>(err);</a:t>
            </a:r>
          </a:p>
          <a:p>
            <a:r>
              <a:rPr lang="en-US" sz="1200" dirty="0">
                <a:latin typeface="Consolas"/>
                <a:cs typeface="Calibri"/>
              </a:rPr>
              <a:t>});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A4B61F12-E353-9641-BEFD-4971D1B3BE9D}"/>
              </a:ext>
            </a:extLst>
          </p:cNvPr>
          <p:cNvSpPr/>
          <p:nvPr/>
        </p:nvSpPr>
        <p:spPr>
          <a:xfrm>
            <a:off x="248877" y="1730966"/>
            <a:ext cx="4007438" cy="431060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  <a:cs typeface="Calibri"/>
              </a:rPr>
              <a:t>const </a:t>
            </a:r>
            <a:r>
              <a:rPr lang="en-US" sz="1200" dirty="0" err="1">
                <a:latin typeface="Consolas"/>
                <a:cs typeface="Calibri"/>
              </a:rPr>
              <a:t>sampleFn</a:t>
            </a:r>
            <a:r>
              <a:rPr lang="en-US" sz="1200" dirty="0">
                <a:latin typeface="Consolas"/>
                <a:cs typeface="Calibri"/>
              </a:rPr>
              <a:t> = function(x) {</a:t>
            </a:r>
          </a:p>
          <a:p>
            <a:r>
              <a:rPr lang="en-US" sz="1200" dirty="0">
                <a:latin typeface="Consolas"/>
                <a:cs typeface="Calibri"/>
              </a:rPr>
              <a:t>  if (</a:t>
            </a:r>
            <a:r>
              <a:rPr lang="en-US" sz="1200" dirty="0" err="1">
                <a:latin typeface="Consolas"/>
                <a:cs typeface="Calibri"/>
              </a:rPr>
              <a:t>isNaN</a:t>
            </a:r>
            <a:r>
              <a:rPr lang="en-US" sz="1200" dirty="0">
                <a:latin typeface="Consolas"/>
                <a:cs typeface="Calibri"/>
              </a:rPr>
              <a:t>(x)) {</a:t>
            </a:r>
          </a:p>
          <a:p>
            <a:r>
              <a:rPr lang="en-US" sz="1200" dirty="0">
                <a:latin typeface="Consolas"/>
                <a:cs typeface="Calibri"/>
              </a:rPr>
              <a:t>    // Generate and throw an error</a:t>
            </a:r>
          </a:p>
          <a:p>
            <a:r>
              <a:rPr lang="en-US" sz="1200" dirty="0">
                <a:latin typeface="Consolas"/>
                <a:cs typeface="Calibri"/>
              </a:rPr>
              <a:t>    throw new Error(`Invalid parameter ${x}`);</a:t>
            </a:r>
          </a:p>
          <a:p>
            <a:r>
              <a:rPr lang="en-US" sz="1200" dirty="0">
                <a:latin typeface="Consolas"/>
                <a:cs typeface="Calibri"/>
              </a:rPr>
              <a:t>  } else {</a:t>
            </a:r>
          </a:p>
          <a:p>
            <a:r>
              <a:rPr lang="en-US" sz="1200" dirty="0">
                <a:latin typeface="Consolas"/>
                <a:cs typeface="Calibri"/>
              </a:rPr>
              <a:t>    return x * 2;</a:t>
            </a:r>
          </a:p>
          <a:p>
            <a:r>
              <a:rPr lang="en-US" sz="1200" dirty="0">
                <a:latin typeface="Consolas"/>
                <a:cs typeface="Calibri"/>
              </a:rPr>
              <a:t>  }</a:t>
            </a:r>
          </a:p>
          <a:p>
            <a:r>
              <a:rPr lang="en-US" sz="1200" dirty="0">
                <a:latin typeface="Consolas"/>
                <a:cs typeface="Calibri"/>
              </a:rPr>
              <a:t>}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Traditional error management via try/catch</a:t>
            </a:r>
          </a:p>
          <a:p>
            <a:r>
              <a:rPr lang="en-US" sz="1200" dirty="0">
                <a:latin typeface="Consolas"/>
                <a:cs typeface="Calibri"/>
              </a:rPr>
              <a:t>// blocks</a:t>
            </a:r>
          </a:p>
          <a:p>
            <a:r>
              <a:rPr lang="en-US" sz="1200" dirty="0">
                <a:latin typeface="Consolas"/>
                <a:cs typeface="Calibri"/>
              </a:rPr>
              <a:t>try {</a:t>
            </a:r>
          </a:p>
          <a:p>
            <a:r>
              <a:rPr lang="en-US" sz="1200" dirty="0">
                <a:latin typeface="Consolas"/>
                <a:cs typeface="Calibri"/>
              </a:rPr>
              <a:t>  </a:t>
            </a:r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</a:t>
            </a:r>
            <a:r>
              <a:rPr lang="en-US" sz="1200" dirty="0" err="1">
                <a:latin typeface="Consolas"/>
                <a:cs typeface="Calibri"/>
              </a:rPr>
              <a:t>sampleFn</a:t>
            </a:r>
            <a:r>
              <a:rPr lang="en-US" sz="1200" dirty="0">
                <a:latin typeface="Consolas"/>
                <a:cs typeface="Calibri"/>
              </a:rPr>
              <a:t>(2));</a:t>
            </a:r>
          </a:p>
          <a:p>
            <a:r>
              <a:rPr lang="en-US" sz="1200" dirty="0">
                <a:latin typeface="Consolas"/>
                <a:cs typeface="Calibri"/>
              </a:rPr>
              <a:t>  </a:t>
            </a:r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</a:t>
            </a:r>
            <a:r>
              <a:rPr lang="en-US" sz="1200" dirty="0" err="1">
                <a:latin typeface="Consolas"/>
                <a:cs typeface="Calibri"/>
              </a:rPr>
              <a:t>sampleFn</a:t>
            </a:r>
            <a:r>
              <a:rPr lang="en-US" sz="1200" dirty="0">
                <a:latin typeface="Consolas"/>
                <a:cs typeface="Calibri"/>
              </a:rPr>
              <a:t>(‘2’));</a:t>
            </a:r>
          </a:p>
          <a:p>
            <a:r>
              <a:rPr lang="en-US" sz="1200" dirty="0">
                <a:latin typeface="Consolas"/>
                <a:cs typeface="Calibri"/>
              </a:rPr>
              <a:t>  </a:t>
            </a:r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</a:t>
            </a:r>
            <a:r>
              <a:rPr lang="en-US" sz="1200" dirty="0" err="1">
                <a:latin typeface="Consolas"/>
                <a:cs typeface="Calibri"/>
              </a:rPr>
              <a:t>sampleFn</a:t>
            </a:r>
            <a:r>
              <a:rPr lang="en-US" sz="1200" dirty="0">
                <a:latin typeface="Consolas"/>
                <a:cs typeface="Calibri"/>
              </a:rPr>
              <a:t>(‘</a:t>
            </a:r>
            <a:r>
              <a:rPr lang="en-US" sz="1200" dirty="0" err="1">
                <a:latin typeface="Consolas"/>
                <a:cs typeface="Calibri"/>
              </a:rPr>
              <a:t>asd</a:t>
            </a:r>
            <a:r>
              <a:rPr lang="en-US" sz="1200" dirty="0">
                <a:latin typeface="Consolas"/>
                <a:cs typeface="Calibri"/>
              </a:rPr>
              <a:t>’));</a:t>
            </a:r>
          </a:p>
          <a:p>
            <a:r>
              <a:rPr lang="en-US" sz="1200" dirty="0">
                <a:latin typeface="Consolas"/>
                <a:cs typeface="Calibri"/>
              </a:rPr>
              <a:t>} catch (err) {</a:t>
            </a:r>
          </a:p>
          <a:p>
            <a:r>
              <a:rPr lang="en-US" sz="1200" dirty="0">
                <a:latin typeface="Consolas"/>
                <a:cs typeface="Calibri"/>
              </a:rPr>
              <a:t>  </a:t>
            </a:r>
            <a:r>
              <a:rPr lang="en-US" sz="1200" dirty="0" err="1">
                <a:latin typeface="Consolas"/>
                <a:cs typeface="Calibri"/>
              </a:rPr>
              <a:t>console.error</a:t>
            </a:r>
            <a:r>
              <a:rPr lang="en-US" sz="1200" dirty="0">
                <a:latin typeface="Consolas"/>
                <a:cs typeface="Calibri"/>
              </a:rPr>
              <a:t>(‘Something went wrong!’, err);</a:t>
            </a:r>
          </a:p>
          <a:p>
            <a:r>
              <a:rPr lang="en-US" sz="1200" dirty="0">
                <a:latin typeface="Consolas"/>
                <a:cs typeface="Calibri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090748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>
                <a:solidFill>
                  <a:schemeClr val="bg1"/>
                </a:solidFill>
                <a:latin typeface="Century Gothic"/>
              </a:rPr>
              <a:t>Introduction</a:t>
            </a:r>
            <a:endParaRPr lang="es-ES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2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b="1" dirty="0">
                <a:latin typeface="Century Gothic"/>
              </a:rPr>
              <a:t>Features: Functional features</a:t>
            </a:r>
          </a:p>
          <a:p>
            <a:pPr>
              <a:spcBef>
                <a:spcPct val="20000"/>
              </a:spcBef>
            </a:pPr>
            <a:r>
              <a:rPr lang="en-US" sz="1600" i="1" dirty="0">
                <a:latin typeface="Century Gothic"/>
              </a:rPr>
              <a:t>JavaScript</a:t>
            </a:r>
            <a:r>
              <a:rPr lang="en-US" sz="1600" dirty="0">
                <a:latin typeface="Century Gothic"/>
              </a:rPr>
              <a:t> also exposes multiple </a:t>
            </a:r>
            <a:r>
              <a:rPr lang="en-US" sz="1600" i="1" dirty="0">
                <a:latin typeface="Century Gothic"/>
              </a:rPr>
              <a:t>functional</a:t>
            </a:r>
            <a:r>
              <a:rPr lang="en-US" sz="1600" dirty="0">
                <a:latin typeface="Century Gothic"/>
              </a:rPr>
              <a:t> constructs that can be used to implement declarative code.</a:t>
            </a:r>
          </a:p>
          <a:p>
            <a:pPr>
              <a:spcBef>
                <a:spcPct val="20000"/>
              </a:spcBef>
            </a:pPr>
            <a:r>
              <a:rPr lang="en-US" sz="1600" dirty="0">
                <a:latin typeface="Century Gothic"/>
              </a:rPr>
              <a:t>These constructs include but are not limited to:</a:t>
            </a:r>
          </a:p>
          <a:p>
            <a:pPr>
              <a:spcBef>
                <a:spcPct val="20000"/>
              </a:spcBef>
            </a:pPr>
            <a:endParaRPr lang="en-US" sz="1400" dirty="0">
              <a:latin typeface="Century Gothic"/>
            </a:endParaRP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400" b="1" i="1" dirty="0">
                <a:latin typeface="Century Gothic"/>
              </a:rPr>
              <a:t>lambda </a:t>
            </a:r>
            <a:r>
              <a:rPr lang="en-US" sz="1400" b="1" dirty="0">
                <a:latin typeface="Century Gothic"/>
              </a:rPr>
              <a:t>/</a:t>
            </a:r>
            <a:r>
              <a:rPr lang="en-US" sz="1400" b="1" i="1" dirty="0">
                <a:latin typeface="Century Gothic"/>
              </a:rPr>
              <a:t> arrow</a:t>
            </a:r>
            <a:r>
              <a:rPr lang="en-US" sz="1400" b="1" dirty="0">
                <a:latin typeface="Century Gothic"/>
              </a:rPr>
              <a:t> functions</a:t>
            </a:r>
            <a:r>
              <a:rPr lang="en-US" sz="1400" dirty="0">
                <a:latin typeface="Century Gothic"/>
              </a:rPr>
              <a:t>, while they’re not </a:t>
            </a:r>
            <a:r>
              <a:rPr lang="en-US" sz="1400" i="1" dirty="0">
                <a:latin typeface="Century Gothic"/>
              </a:rPr>
              <a:t>functional</a:t>
            </a:r>
            <a:r>
              <a:rPr lang="en-US" sz="1400" dirty="0">
                <a:latin typeface="Century Gothic"/>
              </a:rPr>
              <a:t> constructs per definition, these constructs improve code readability and they also automatically bind to the parent scope, avoiding possible </a:t>
            </a:r>
            <a:r>
              <a:rPr lang="en-US" sz="1400" i="1" dirty="0">
                <a:latin typeface="Century Gothic"/>
              </a:rPr>
              <a:t>scoping</a:t>
            </a:r>
            <a:r>
              <a:rPr lang="en-US" sz="1400" dirty="0">
                <a:latin typeface="Century Gothic"/>
              </a:rPr>
              <a:t> issues.</a:t>
            </a:r>
            <a:endParaRPr lang="en-US" sz="1400" i="1" dirty="0">
              <a:latin typeface="Century Gothic"/>
            </a:endParaRP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400" b="1" i="1" dirty="0">
                <a:latin typeface="Century Gothic"/>
              </a:rPr>
              <a:t>functions </a:t>
            </a:r>
            <a:r>
              <a:rPr lang="en-US" sz="1400" b="1" dirty="0">
                <a:latin typeface="Century Gothic"/>
              </a:rPr>
              <a:t>are first-class citizens</a:t>
            </a:r>
            <a:r>
              <a:rPr lang="en-US" sz="1400" dirty="0">
                <a:latin typeface="Century Gothic"/>
              </a:rPr>
              <a:t>: they can be stored as variables and can be passed around as arguments.</a:t>
            </a:r>
            <a:br>
              <a:rPr lang="en-US" sz="1400" dirty="0">
                <a:latin typeface="Century Gothic"/>
              </a:rPr>
            </a:br>
            <a:r>
              <a:rPr lang="en-US" sz="1400" dirty="0">
                <a:latin typeface="Century Gothic"/>
              </a:rPr>
              <a:t>Since we can pass </a:t>
            </a:r>
            <a:r>
              <a:rPr lang="en-US" sz="1400" i="1" dirty="0">
                <a:latin typeface="Century Gothic"/>
              </a:rPr>
              <a:t>functions</a:t>
            </a:r>
            <a:r>
              <a:rPr lang="en-US" sz="1400" dirty="0">
                <a:latin typeface="Century Gothic"/>
              </a:rPr>
              <a:t> as parameters and return them as values, we can implement </a:t>
            </a:r>
            <a:r>
              <a:rPr lang="en-US" sz="1400" i="1" dirty="0">
                <a:latin typeface="Century Gothic"/>
              </a:rPr>
              <a:t>higher order functions</a:t>
            </a:r>
            <a:r>
              <a:rPr lang="en-US" sz="1400" dirty="0">
                <a:latin typeface="Century Gothic"/>
              </a:rPr>
              <a:t>.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400" b="1" i="1" dirty="0">
                <a:latin typeface="Century Gothic"/>
              </a:rPr>
              <a:t>immutability </a:t>
            </a:r>
            <a:r>
              <a:rPr lang="en-US" sz="1400" dirty="0">
                <a:latin typeface="Century Gothic"/>
              </a:rPr>
              <a:t>is supported using </a:t>
            </a:r>
            <a:r>
              <a:rPr lang="en-US" sz="1400" i="1" dirty="0" err="1">
                <a:latin typeface="Century Gothic"/>
              </a:rPr>
              <a:t>Object.freeze</a:t>
            </a:r>
            <a:r>
              <a:rPr lang="en-US" sz="1400" i="1" dirty="0">
                <a:latin typeface="Century Gothic"/>
              </a:rPr>
              <a:t> </a:t>
            </a:r>
            <a:r>
              <a:rPr lang="en-US" sz="1400" dirty="0">
                <a:latin typeface="Century Gothic"/>
              </a:rPr>
              <a:t>or external libraries.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400" b="1" i="1" dirty="0">
                <a:latin typeface="Century Gothic"/>
              </a:rPr>
              <a:t>function composition</a:t>
            </a:r>
            <a:r>
              <a:rPr lang="en-US" sz="1400" dirty="0">
                <a:latin typeface="Century Gothic"/>
              </a:rPr>
              <a:t>, which is basically wrapping a function call within another function, is supported.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400" b="1" i="1" dirty="0">
                <a:latin typeface="Century Gothic"/>
              </a:rPr>
              <a:t>higher order functions</a:t>
            </a:r>
            <a:r>
              <a:rPr lang="en-US" sz="1400" b="1" dirty="0">
                <a:latin typeface="Century Gothic"/>
              </a:rPr>
              <a:t> </a:t>
            </a:r>
            <a:r>
              <a:rPr lang="en-US" sz="1400" dirty="0">
                <a:latin typeface="Century Gothic"/>
              </a:rPr>
              <a:t>(functions which operate on other functions) such as </a:t>
            </a:r>
            <a:r>
              <a:rPr lang="en-US" sz="1400" i="1" dirty="0">
                <a:latin typeface="Century Gothic"/>
              </a:rPr>
              <a:t>find</a:t>
            </a:r>
            <a:r>
              <a:rPr lang="en-US" sz="1400" dirty="0">
                <a:latin typeface="Century Gothic"/>
              </a:rPr>
              <a:t>, </a:t>
            </a:r>
            <a:r>
              <a:rPr lang="en-US" sz="1400" i="1" dirty="0">
                <a:latin typeface="Century Gothic"/>
              </a:rPr>
              <a:t>filter</a:t>
            </a:r>
            <a:r>
              <a:rPr lang="en-US" sz="1400" dirty="0">
                <a:latin typeface="Century Gothic"/>
              </a:rPr>
              <a:t>, </a:t>
            </a:r>
            <a:r>
              <a:rPr lang="en-US" sz="1400" i="1" dirty="0">
                <a:latin typeface="Century Gothic"/>
              </a:rPr>
              <a:t>map</a:t>
            </a:r>
            <a:r>
              <a:rPr lang="en-US" sz="1400" dirty="0">
                <a:latin typeface="Century Gothic"/>
              </a:rPr>
              <a:t> or </a:t>
            </a:r>
            <a:r>
              <a:rPr lang="en-US" sz="1400" i="1" dirty="0">
                <a:latin typeface="Century Gothic"/>
              </a:rPr>
              <a:t>reduce</a:t>
            </a:r>
            <a:r>
              <a:rPr lang="en-US" sz="1400" dirty="0">
                <a:latin typeface="Century Gothic"/>
              </a:rPr>
              <a:t> on </a:t>
            </a:r>
            <a:r>
              <a:rPr lang="en-US" sz="1400" i="1" dirty="0">
                <a:latin typeface="Century Gothic"/>
              </a:rPr>
              <a:t>arrays </a:t>
            </a:r>
            <a:r>
              <a:rPr lang="en-US" sz="1400" dirty="0">
                <a:latin typeface="Century Gothic"/>
              </a:rPr>
              <a:t>can be implemented. Latest </a:t>
            </a:r>
            <a:r>
              <a:rPr lang="en-US" sz="1400" i="1" dirty="0">
                <a:latin typeface="Century Gothic"/>
              </a:rPr>
              <a:t>ES</a:t>
            </a:r>
            <a:r>
              <a:rPr lang="en-US" sz="1400" dirty="0">
                <a:latin typeface="Century Gothic"/>
              </a:rPr>
              <a:t> versions also feature </a:t>
            </a:r>
            <a:r>
              <a:rPr lang="en-US" sz="1400" i="1" dirty="0">
                <a:latin typeface="Century Gothic"/>
              </a:rPr>
              <a:t>flat</a:t>
            </a:r>
            <a:r>
              <a:rPr lang="en-US" sz="1400" dirty="0">
                <a:latin typeface="Century Gothic"/>
              </a:rPr>
              <a:t> / </a:t>
            </a:r>
            <a:r>
              <a:rPr lang="en-US" sz="1400" i="1" dirty="0" err="1">
                <a:latin typeface="Century Gothic"/>
              </a:rPr>
              <a:t>flatMap</a:t>
            </a:r>
            <a:r>
              <a:rPr lang="en-US" sz="1400" dirty="0">
                <a:latin typeface="Century Gothic"/>
              </a:rPr>
              <a:t> operators on </a:t>
            </a:r>
            <a:r>
              <a:rPr lang="en-US" sz="1400" i="1" dirty="0">
                <a:latin typeface="Century Gothic"/>
              </a:rPr>
              <a:t>arrays</a:t>
            </a:r>
            <a:r>
              <a:rPr lang="en-US" sz="1400" dirty="0">
                <a:latin typeface="Century Gothic"/>
              </a:rPr>
              <a:t>.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400" b="1" i="1" dirty="0">
                <a:latin typeface="Century Gothic"/>
              </a:rPr>
              <a:t>currying</a:t>
            </a:r>
            <a:r>
              <a:rPr lang="en-US" sz="1400" dirty="0">
                <a:latin typeface="Century Gothic"/>
              </a:rPr>
              <a:t>, which is the process of </a:t>
            </a:r>
            <a:r>
              <a:rPr lang="en-US" sz="1400" i="1" dirty="0">
                <a:latin typeface="Century Gothic"/>
              </a:rPr>
              <a:t>turning a function that accepts n arguments into n functions that accept a single argument</a:t>
            </a:r>
            <a:r>
              <a:rPr lang="en-US" sz="1400" dirty="0">
                <a:latin typeface="Century Gothic"/>
              </a:rPr>
              <a:t>, is also part of the functional toolkit.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/>
              </a:rPr>
              <a:t>while </a:t>
            </a:r>
            <a:r>
              <a:rPr lang="en-US" sz="1400" b="1" i="1" dirty="0">
                <a:latin typeface="Century Gothic"/>
              </a:rPr>
              <a:t>recursion</a:t>
            </a:r>
            <a:r>
              <a:rPr lang="en-US" sz="1400" dirty="0">
                <a:latin typeface="Century Gothic"/>
              </a:rPr>
              <a:t> is supported, there has been an ongoing debate on whether </a:t>
            </a:r>
            <a:r>
              <a:rPr lang="en-US" sz="1400" i="1" dirty="0">
                <a:latin typeface="Century Gothic"/>
              </a:rPr>
              <a:t>tail call optimization </a:t>
            </a:r>
            <a:r>
              <a:rPr lang="en-US" sz="1400" dirty="0">
                <a:latin typeface="Century Gothic"/>
              </a:rPr>
              <a:t>or</a:t>
            </a:r>
            <a:r>
              <a:rPr lang="en-US" sz="1400" i="1" dirty="0">
                <a:latin typeface="Century Gothic"/>
              </a:rPr>
              <a:t> TCO </a:t>
            </a:r>
            <a:r>
              <a:rPr lang="en-US" sz="1400" dirty="0">
                <a:latin typeface="Century Gothic"/>
              </a:rPr>
              <a:t>should be a feature as apparently it breaks stack traces. While ES6 enforces that some sort of </a:t>
            </a:r>
            <a:r>
              <a:rPr lang="en-US" sz="1400" i="1" dirty="0">
                <a:latin typeface="Century Gothic"/>
              </a:rPr>
              <a:t>TCO</a:t>
            </a:r>
            <a:r>
              <a:rPr lang="en-US" sz="1400" dirty="0">
                <a:latin typeface="Century Gothic"/>
              </a:rPr>
              <a:t> is implemented, neither </a:t>
            </a:r>
            <a:r>
              <a:rPr lang="en-US" sz="1400" i="1" dirty="0">
                <a:latin typeface="Century Gothic"/>
              </a:rPr>
              <a:t>Node.js </a:t>
            </a:r>
            <a:r>
              <a:rPr lang="en-US" sz="1400" dirty="0">
                <a:latin typeface="Century Gothic"/>
              </a:rPr>
              <a:t>nor most browsers feature a TCO mechanism. A possible workaround is to use the </a:t>
            </a:r>
            <a:r>
              <a:rPr lang="en-US" sz="1400" i="1" dirty="0">
                <a:latin typeface="Century Gothic"/>
              </a:rPr>
              <a:t>trampoline </a:t>
            </a:r>
            <a:r>
              <a:rPr lang="en-US" sz="1400" dirty="0">
                <a:latin typeface="Century Gothic"/>
              </a:rPr>
              <a:t>pattern, which executes our code as if </a:t>
            </a:r>
            <a:r>
              <a:rPr lang="en-US" sz="1400" i="1" dirty="0">
                <a:latin typeface="Century Gothic"/>
              </a:rPr>
              <a:t>TCO</a:t>
            </a:r>
            <a:r>
              <a:rPr lang="en-US" sz="1400" dirty="0">
                <a:latin typeface="Century Gothic"/>
              </a:rPr>
              <a:t> optimized.</a:t>
            </a:r>
          </a:p>
          <a:p>
            <a:pPr>
              <a:spcBef>
                <a:spcPct val="20000"/>
              </a:spcBef>
            </a:pPr>
            <a:endParaRPr lang="en-US" sz="14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1400" dirty="0">
                <a:latin typeface="Century Gothic"/>
              </a:rPr>
              <a:t>On top of these tools, there’s also great libraries such as </a:t>
            </a:r>
            <a:r>
              <a:rPr lang="en-US" sz="1400" b="1" i="1" dirty="0" err="1">
                <a:latin typeface="Century Gothic"/>
              </a:rPr>
              <a:t>lodash</a:t>
            </a:r>
            <a:r>
              <a:rPr lang="en-US" sz="1400" dirty="0">
                <a:latin typeface="Century Gothic"/>
              </a:rPr>
              <a:t> or </a:t>
            </a:r>
            <a:r>
              <a:rPr lang="en-US" sz="1400" b="1" i="1" dirty="0" err="1">
                <a:latin typeface="Century Gothic"/>
              </a:rPr>
              <a:t>RxJS</a:t>
            </a:r>
            <a:r>
              <a:rPr lang="en-US" sz="1400" dirty="0">
                <a:latin typeface="Century Gothic"/>
              </a:rPr>
              <a:t> which provide additional tooling for functional programming on </a:t>
            </a:r>
            <a:r>
              <a:rPr lang="en-US" sz="1400" i="1" dirty="0">
                <a:latin typeface="Century Gothic"/>
              </a:rPr>
              <a:t>JavaScript</a:t>
            </a:r>
            <a:r>
              <a:rPr lang="en-US" sz="1400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r>
              <a:rPr lang="en-US" sz="1400" dirty="0">
                <a:latin typeface="Century Gothic"/>
              </a:rPr>
              <a:t>It is important to keep the target platform in mind as some of these features are not yet supported on browsers.</a:t>
            </a:r>
          </a:p>
        </p:txBody>
      </p:sp>
      <p:pic>
        <p:nvPicPr>
          <p:cNvPr id="41537" name="Picture 577">
            <a:extLst>
              <a:ext uri="{FF2B5EF4-FFF2-40B4-BE49-F238E27FC236}">
                <a16:creationId xmlns:a16="http://schemas.microsoft.com/office/drawing/2014/main" id="{468E00A5-3FA0-A848-B9BF-6487463C30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0" y="1096874"/>
            <a:ext cx="1268184" cy="1268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23">
            <a:extLst>
              <a:ext uri="{FF2B5EF4-FFF2-40B4-BE49-F238E27FC236}">
                <a16:creationId xmlns:a16="http://schemas.microsoft.com/office/drawing/2014/main" id="{D17781F2-1020-4343-B88F-03234841DEB0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JavaScript</a:t>
            </a:r>
            <a:endParaRPr lang="es-ES" i="1" dirty="0"/>
          </a:p>
        </p:txBody>
      </p:sp>
    </p:spTree>
    <p:extLst>
      <p:ext uri="{BB962C8B-B14F-4D97-AF65-F5344CB8AC3E}">
        <p14:creationId xmlns:p14="http://schemas.microsoft.com/office/powerpoint/2010/main" val="2132365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2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b="1" dirty="0">
                <a:latin typeface="Century Gothic"/>
              </a:rPr>
              <a:t>Features: Functional features</a:t>
            </a: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b="1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b="1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A4FBB38A-5673-B343-8A22-C5F9D3568034}"/>
              </a:ext>
            </a:extLst>
          </p:cNvPr>
          <p:cNvSpPr/>
          <p:nvPr/>
        </p:nvSpPr>
        <p:spPr>
          <a:xfrm>
            <a:off x="8108355" y="1730965"/>
            <a:ext cx="3735301" cy="431060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  <a:cs typeface="Calibri"/>
              </a:rPr>
              <a:t>// Base factorial function</a:t>
            </a:r>
          </a:p>
          <a:p>
            <a:r>
              <a:rPr lang="en-US" sz="1200" dirty="0">
                <a:latin typeface="Consolas"/>
                <a:cs typeface="Calibri"/>
              </a:rPr>
              <a:t>const fact = (n, prod = 1) =&gt; </a:t>
            </a:r>
          </a:p>
          <a:p>
            <a:r>
              <a:rPr lang="en-US" sz="1200" dirty="0">
                <a:latin typeface="Consolas"/>
                <a:cs typeface="Calibri"/>
              </a:rPr>
              <a:t>{</a:t>
            </a:r>
          </a:p>
          <a:p>
            <a:r>
              <a:rPr lang="en-US" sz="1200" dirty="0">
                <a:latin typeface="Consolas"/>
                <a:cs typeface="Calibri"/>
              </a:rPr>
              <a:t>  return n === 0</a:t>
            </a:r>
          </a:p>
          <a:p>
            <a:r>
              <a:rPr lang="en-US" sz="1200" dirty="0">
                <a:latin typeface="Consolas"/>
                <a:cs typeface="Calibri"/>
              </a:rPr>
              <a:t>    ? prod</a:t>
            </a:r>
          </a:p>
          <a:p>
            <a:r>
              <a:rPr lang="en-US" sz="1200" dirty="0">
                <a:latin typeface="Consolas"/>
                <a:cs typeface="Calibri"/>
              </a:rPr>
              <a:t>    : () =&gt; {</a:t>
            </a:r>
          </a:p>
          <a:p>
            <a:r>
              <a:rPr lang="en-US" sz="1200" dirty="0">
                <a:latin typeface="Consolas"/>
                <a:cs typeface="Calibri"/>
              </a:rPr>
              <a:t>      return fact(n - 1, prod * n);</a:t>
            </a:r>
          </a:p>
          <a:p>
            <a:r>
              <a:rPr lang="en-US" sz="1200" dirty="0">
                <a:latin typeface="Consolas"/>
                <a:cs typeface="Calibri"/>
              </a:rPr>
              <a:t>    }</a:t>
            </a:r>
          </a:p>
          <a:p>
            <a:r>
              <a:rPr lang="en-US" sz="1200" dirty="0">
                <a:latin typeface="Consolas"/>
                <a:cs typeface="Calibri"/>
              </a:rPr>
              <a:t>}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Trampoline function</a:t>
            </a:r>
          </a:p>
          <a:p>
            <a:r>
              <a:rPr lang="en-US" sz="1200" dirty="0">
                <a:latin typeface="Consolas"/>
                <a:cs typeface="Calibri"/>
              </a:rPr>
              <a:t>const trampoline = (</a:t>
            </a:r>
            <a:r>
              <a:rPr lang="en-US" sz="1200" dirty="0" err="1">
                <a:latin typeface="Consolas"/>
                <a:cs typeface="Calibri"/>
              </a:rPr>
              <a:t>fn</a:t>
            </a:r>
            <a:r>
              <a:rPr lang="en-US" sz="1200" dirty="0">
                <a:latin typeface="Consolas"/>
                <a:cs typeface="Calibri"/>
              </a:rPr>
              <a:t>) =&gt; (...</a:t>
            </a:r>
            <a:r>
              <a:rPr lang="en-US" sz="1200" dirty="0" err="1">
                <a:latin typeface="Consolas"/>
                <a:cs typeface="Calibri"/>
              </a:rPr>
              <a:t>args</a:t>
            </a:r>
            <a:r>
              <a:rPr lang="en-US" sz="1200" dirty="0">
                <a:latin typeface="Consolas"/>
                <a:cs typeface="Calibri"/>
              </a:rPr>
              <a:t>) =&gt; {</a:t>
            </a:r>
          </a:p>
          <a:p>
            <a:r>
              <a:rPr lang="en-US" sz="1200" dirty="0">
                <a:latin typeface="Consolas"/>
                <a:cs typeface="Calibri"/>
              </a:rPr>
              <a:t>  let result = </a:t>
            </a:r>
            <a:r>
              <a:rPr lang="en-US" sz="1200" dirty="0" err="1">
                <a:latin typeface="Consolas"/>
                <a:cs typeface="Calibri"/>
              </a:rPr>
              <a:t>fn</a:t>
            </a:r>
            <a:r>
              <a:rPr lang="en-US" sz="1200" dirty="0">
                <a:latin typeface="Consolas"/>
                <a:cs typeface="Calibri"/>
              </a:rPr>
              <a:t>(...</a:t>
            </a:r>
            <a:r>
              <a:rPr lang="en-US" sz="1200" dirty="0" err="1">
                <a:latin typeface="Consolas"/>
                <a:cs typeface="Calibri"/>
              </a:rPr>
              <a:t>args</a:t>
            </a:r>
            <a:r>
              <a:rPr lang="en-US" sz="1200" dirty="0">
                <a:latin typeface="Consolas"/>
                <a:cs typeface="Calibri"/>
              </a:rPr>
              <a:t>);</a:t>
            </a:r>
          </a:p>
          <a:p>
            <a:r>
              <a:rPr lang="en-US" sz="1200" dirty="0">
                <a:latin typeface="Consolas"/>
                <a:cs typeface="Calibri"/>
              </a:rPr>
              <a:t>  while (</a:t>
            </a:r>
            <a:r>
              <a:rPr lang="en-US" sz="1200" dirty="0" err="1">
                <a:latin typeface="Consolas"/>
                <a:cs typeface="Calibri"/>
              </a:rPr>
              <a:t>typeof</a:t>
            </a:r>
            <a:r>
              <a:rPr lang="en-US" sz="1200" dirty="0">
                <a:latin typeface="Consolas"/>
                <a:cs typeface="Calibri"/>
              </a:rPr>
              <a:t> result === ‘function’) {</a:t>
            </a:r>
          </a:p>
          <a:p>
            <a:r>
              <a:rPr lang="en-US" sz="1200" dirty="0">
                <a:latin typeface="Consolas"/>
                <a:cs typeface="Calibri"/>
              </a:rPr>
              <a:t>    result = result();</a:t>
            </a:r>
          </a:p>
          <a:p>
            <a:r>
              <a:rPr lang="en-US" sz="1200" dirty="0">
                <a:latin typeface="Consolas"/>
                <a:cs typeface="Calibri"/>
              </a:rPr>
              <a:t>    </a:t>
            </a:r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‘Partial’, result);</a:t>
            </a:r>
          </a:p>
          <a:p>
            <a:r>
              <a:rPr lang="en-US" sz="1200" dirty="0">
                <a:latin typeface="Consolas"/>
                <a:cs typeface="Calibri"/>
              </a:rPr>
              <a:t>  }</a:t>
            </a:r>
          </a:p>
          <a:p>
            <a:r>
              <a:rPr lang="en-US" sz="1200" dirty="0">
                <a:latin typeface="Consolas"/>
                <a:cs typeface="Calibri"/>
              </a:rPr>
              <a:t>  return result;</a:t>
            </a:r>
          </a:p>
          <a:p>
            <a:r>
              <a:rPr lang="en-US" sz="1200" dirty="0">
                <a:latin typeface="Consolas"/>
                <a:cs typeface="Calibri"/>
              </a:rPr>
              <a:t>}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Wrap the factorial into the trampoline</a:t>
            </a:r>
          </a:p>
          <a:p>
            <a:r>
              <a:rPr lang="en-US" sz="1200" dirty="0">
                <a:latin typeface="Consolas"/>
                <a:cs typeface="Calibri"/>
              </a:rPr>
              <a:t>const </a:t>
            </a:r>
            <a:r>
              <a:rPr lang="en-US" sz="1200" dirty="0" err="1">
                <a:latin typeface="Consolas"/>
                <a:cs typeface="Calibri"/>
              </a:rPr>
              <a:t>resultFn</a:t>
            </a:r>
            <a:r>
              <a:rPr lang="en-US" sz="1200" dirty="0">
                <a:latin typeface="Consolas"/>
                <a:cs typeface="Calibri"/>
              </a:rPr>
              <a:t> = trampoline(fact);</a:t>
            </a:r>
          </a:p>
          <a:p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</a:t>
            </a:r>
            <a:r>
              <a:rPr lang="en-US" sz="1200" dirty="0" err="1">
                <a:latin typeface="Consolas"/>
                <a:cs typeface="Calibri"/>
              </a:rPr>
              <a:t>resultFn</a:t>
            </a:r>
            <a:r>
              <a:rPr lang="en-US" sz="1200" dirty="0">
                <a:latin typeface="Consolas"/>
                <a:cs typeface="Calibri"/>
              </a:rPr>
              <a:t>(2000));</a:t>
            </a:r>
          </a:p>
        </p:txBody>
      </p:sp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>
                <a:solidFill>
                  <a:schemeClr val="bg1"/>
                </a:solidFill>
                <a:latin typeface="Century Gothic"/>
              </a:rPr>
              <a:t>Introduction</a:t>
            </a:r>
            <a:endParaRPr lang="es-ES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37" name="Picture 577">
            <a:extLst>
              <a:ext uri="{FF2B5EF4-FFF2-40B4-BE49-F238E27FC236}">
                <a16:creationId xmlns:a16="http://schemas.microsoft.com/office/drawing/2014/main" id="{468E00A5-3FA0-A848-B9BF-6487463C30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0" y="1096874"/>
            <a:ext cx="1268184" cy="1268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23">
            <a:extLst>
              <a:ext uri="{FF2B5EF4-FFF2-40B4-BE49-F238E27FC236}">
                <a16:creationId xmlns:a16="http://schemas.microsoft.com/office/drawing/2014/main" id="{D17781F2-1020-4343-B88F-03234841DEB0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JavaScript</a:t>
            </a:r>
            <a:endParaRPr lang="es-ES" i="1" dirty="0"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EAD13079-1028-D148-B500-00D4BBEF75E6}"/>
              </a:ext>
            </a:extLst>
          </p:cNvPr>
          <p:cNvSpPr/>
          <p:nvPr/>
        </p:nvSpPr>
        <p:spPr>
          <a:xfrm>
            <a:off x="4428984" y="1730966"/>
            <a:ext cx="3506703" cy="431060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  <a:cs typeface="Calibri"/>
              </a:rPr>
              <a:t>// Define a filter function</a:t>
            </a:r>
          </a:p>
          <a:p>
            <a:r>
              <a:rPr lang="en-US" sz="1200" dirty="0">
                <a:latin typeface="Consolas"/>
                <a:cs typeface="Calibri"/>
              </a:rPr>
              <a:t>const </a:t>
            </a:r>
            <a:r>
              <a:rPr lang="en-US" sz="1200" dirty="0" err="1">
                <a:latin typeface="Consolas"/>
                <a:cs typeface="Calibri"/>
              </a:rPr>
              <a:t>oddsFilter</a:t>
            </a:r>
            <a:r>
              <a:rPr lang="en-US" sz="1200" dirty="0">
                <a:latin typeface="Consolas"/>
                <a:cs typeface="Calibri"/>
              </a:rPr>
              <a:t> = (x) =&gt; {</a:t>
            </a:r>
          </a:p>
          <a:p>
            <a:r>
              <a:rPr lang="en-US" sz="1200" dirty="0">
                <a:latin typeface="Consolas"/>
                <a:cs typeface="Calibri"/>
              </a:rPr>
              <a:t>  return x % 2 === 0;</a:t>
            </a:r>
          </a:p>
          <a:p>
            <a:r>
              <a:rPr lang="en-US" sz="1200" dirty="0">
                <a:latin typeface="Consolas"/>
                <a:cs typeface="Calibri"/>
              </a:rPr>
              <a:t>};</a:t>
            </a:r>
          </a:p>
          <a:p>
            <a:r>
              <a:rPr lang="en-US" sz="1200" dirty="0">
                <a:latin typeface="Consolas"/>
                <a:cs typeface="Calibri"/>
              </a:rPr>
              <a:t>// Generate a base array of numbers</a:t>
            </a:r>
          </a:p>
          <a:p>
            <a:r>
              <a:rPr lang="en-US" sz="1200" dirty="0">
                <a:latin typeface="Consolas"/>
                <a:cs typeface="Calibri"/>
              </a:rPr>
              <a:t>const numbers = Array(100).fill(0).map((n, </a:t>
            </a:r>
            <a:r>
              <a:rPr lang="en-US" sz="1200" dirty="0" err="1">
                <a:latin typeface="Consolas"/>
                <a:cs typeface="Calibri"/>
              </a:rPr>
              <a:t>idx</a:t>
            </a:r>
            <a:r>
              <a:rPr lang="en-US" sz="1200" dirty="0">
                <a:latin typeface="Consolas"/>
                <a:cs typeface="Calibri"/>
              </a:rPr>
              <a:t>) =&gt; </a:t>
            </a:r>
            <a:r>
              <a:rPr lang="en-US" sz="1200" dirty="0" err="1">
                <a:latin typeface="Consolas"/>
                <a:cs typeface="Calibri"/>
              </a:rPr>
              <a:t>idx</a:t>
            </a:r>
            <a:r>
              <a:rPr lang="en-US" sz="1200" dirty="0">
                <a:latin typeface="Consolas"/>
                <a:cs typeface="Calibri"/>
              </a:rPr>
              <a:t> + 1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Apply the filter function</a:t>
            </a:r>
          </a:p>
          <a:p>
            <a:r>
              <a:rPr lang="en-US" sz="1200" dirty="0">
                <a:latin typeface="Consolas"/>
                <a:cs typeface="Calibri"/>
              </a:rPr>
              <a:t>const evens = </a:t>
            </a:r>
            <a:r>
              <a:rPr lang="en-US" sz="1200" dirty="0" err="1">
                <a:latin typeface="Consolas"/>
                <a:cs typeface="Calibri"/>
              </a:rPr>
              <a:t>numbers.filter</a:t>
            </a:r>
            <a:r>
              <a:rPr lang="en-US" sz="1200" dirty="0">
                <a:latin typeface="Consolas"/>
                <a:cs typeface="Calibri"/>
              </a:rPr>
              <a:t>(</a:t>
            </a:r>
            <a:r>
              <a:rPr lang="en-US" sz="1200" dirty="0" err="1">
                <a:latin typeface="Consolas"/>
                <a:cs typeface="Calibri"/>
              </a:rPr>
              <a:t>oddsFilter</a:t>
            </a:r>
            <a:r>
              <a:rPr lang="en-US" sz="1200" dirty="0">
                <a:latin typeface="Consolas"/>
                <a:cs typeface="Calibri"/>
              </a:rPr>
              <a:t>);</a:t>
            </a:r>
          </a:p>
          <a:p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evens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Generate the array values sum</a:t>
            </a:r>
          </a:p>
          <a:p>
            <a:r>
              <a:rPr lang="en-US" sz="1200" dirty="0">
                <a:latin typeface="Consolas"/>
                <a:cs typeface="Calibri"/>
              </a:rPr>
              <a:t>const sum = </a:t>
            </a:r>
            <a:r>
              <a:rPr lang="en-US" sz="1200" dirty="0" err="1">
                <a:latin typeface="Consolas"/>
                <a:cs typeface="Calibri"/>
              </a:rPr>
              <a:t>numbers.reduce</a:t>
            </a:r>
            <a:r>
              <a:rPr lang="en-US" sz="1200" dirty="0">
                <a:latin typeface="Consolas"/>
                <a:cs typeface="Calibri"/>
              </a:rPr>
              <a:t>((</a:t>
            </a:r>
            <a:r>
              <a:rPr lang="en-US" sz="1200" dirty="0" err="1">
                <a:latin typeface="Consolas"/>
                <a:cs typeface="Calibri"/>
              </a:rPr>
              <a:t>aggr</a:t>
            </a:r>
            <a:r>
              <a:rPr lang="en-US" sz="1200" dirty="0">
                <a:latin typeface="Consolas"/>
                <a:cs typeface="Calibri"/>
              </a:rPr>
              <a:t>, </a:t>
            </a:r>
            <a:r>
              <a:rPr lang="en-US" sz="1200" dirty="0" err="1">
                <a:latin typeface="Consolas"/>
                <a:cs typeface="Calibri"/>
              </a:rPr>
              <a:t>curr</a:t>
            </a:r>
            <a:r>
              <a:rPr lang="en-US" sz="1200" dirty="0">
                <a:latin typeface="Consolas"/>
                <a:cs typeface="Calibri"/>
              </a:rPr>
              <a:t>) =&gt; {</a:t>
            </a:r>
          </a:p>
          <a:p>
            <a:r>
              <a:rPr lang="en-US" sz="1200" dirty="0">
                <a:latin typeface="Consolas"/>
                <a:cs typeface="Calibri"/>
              </a:rPr>
              <a:t>  return </a:t>
            </a:r>
            <a:r>
              <a:rPr lang="en-US" sz="1200" dirty="0" err="1">
                <a:latin typeface="Consolas"/>
                <a:cs typeface="Calibri"/>
              </a:rPr>
              <a:t>aggr</a:t>
            </a:r>
            <a:r>
              <a:rPr lang="en-US" sz="1200" dirty="0">
                <a:latin typeface="Consolas"/>
                <a:cs typeface="Calibri"/>
              </a:rPr>
              <a:t> + </a:t>
            </a:r>
            <a:r>
              <a:rPr lang="en-US" sz="1200" dirty="0" err="1">
                <a:latin typeface="Consolas"/>
                <a:cs typeface="Calibri"/>
              </a:rPr>
              <a:t>curr</a:t>
            </a:r>
            <a:r>
              <a:rPr lang="en-US" sz="1200" dirty="0">
                <a:latin typeface="Consolas"/>
                <a:cs typeface="Calibri"/>
              </a:rPr>
              <a:t>;</a:t>
            </a:r>
          </a:p>
          <a:p>
            <a:r>
              <a:rPr lang="en-US" sz="1200" dirty="0">
                <a:latin typeface="Consolas"/>
                <a:cs typeface="Calibri"/>
              </a:rPr>
              <a:t>}, 0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`First ${</a:t>
            </a:r>
            <a:r>
              <a:rPr lang="en-US" sz="1200" dirty="0" err="1">
                <a:latin typeface="Consolas"/>
                <a:cs typeface="Calibri"/>
              </a:rPr>
              <a:t>numbers.length</a:t>
            </a:r>
            <a:r>
              <a:rPr lang="en-US" sz="1200" dirty="0">
                <a:latin typeface="Consolas"/>
                <a:cs typeface="Calibri"/>
              </a:rPr>
              <a:t>} evens sum is ${sum}.`);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A4B61F12-E353-9641-BEFD-4971D1B3BE9D}"/>
              </a:ext>
            </a:extLst>
          </p:cNvPr>
          <p:cNvSpPr/>
          <p:nvPr/>
        </p:nvSpPr>
        <p:spPr>
          <a:xfrm>
            <a:off x="248877" y="1730966"/>
            <a:ext cx="4007438" cy="431060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  <a:cs typeface="Calibri"/>
              </a:rPr>
              <a:t>// Immutability via </a:t>
            </a:r>
            <a:r>
              <a:rPr lang="en-US" sz="1200" i="1" dirty="0" err="1">
                <a:latin typeface="Consolas"/>
                <a:cs typeface="Calibri"/>
              </a:rPr>
              <a:t>Object.freeze</a:t>
            </a:r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Define a </a:t>
            </a:r>
            <a:r>
              <a:rPr lang="en-US" sz="1200" i="1" dirty="0">
                <a:latin typeface="Consolas"/>
                <a:cs typeface="Calibri"/>
              </a:rPr>
              <a:t>constants</a:t>
            </a:r>
            <a:r>
              <a:rPr lang="en-US" sz="1200" dirty="0">
                <a:latin typeface="Consolas"/>
                <a:cs typeface="Calibri"/>
              </a:rPr>
              <a:t> object</a:t>
            </a:r>
          </a:p>
          <a:p>
            <a:r>
              <a:rPr lang="en-US" sz="1200" dirty="0">
                <a:latin typeface="Consolas"/>
                <a:cs typeface="Calibri"/>
              </a:rPr>
              <a:t>const CONSTANTS = {</a:t>
            </a:r>
          </a:p>
          <a:p>
            <a:r>
              <a:rPr lang="en-US" sz="1200" dirty="0">
                <a:latin typeface="Consolas"/>
                <a:cs typeface="Calibri"/>
              </a:rPr>
              <a:t>  VALUE: 1</a:t>
            </a:r>
          </a:p>
          <a:p>
            <a:r>
              <a:rPr lang="en-US" sz="1200" dirty="0">
                <a:latin typeface="Consolas"/>
                <a:cs typeface="Calibri"/>
              </a:rPr>
              <a:t>}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Try and change the </a:t>
            </a:r>
            <a:r>
              <a:rPr lang="en-US" sz="1200" i="1" dirty="0">
                <a:latin typeface="Consolas"/>
                <a:cs typeface="Calibri"/>
              </a:rPr>
              <a:t>value</a:t>
            </a:r>
            <a:r>
              <a:rPr lang="en-US" sz="1200" dirty="0">
                <a:latin typeface="Consolas"/>
                <a:cs typeface="Calibri"/>
              </a:rPr>
              <a:t> property of </a:t>
            </a:r>
          </a:p>
          <a:p>
            <a:r>
              <a:rPr lang="en-US" sz="1200" dirty="0">
                <a:latin typeface="Consolas"/>
                <a:cs typeface="Calibri"/>
              </a:rPr>
              <a:t>// the </a:t>
            </a:r>
            <a:r>
              <a:rPr lang="en-US" sz="1200" i="1" dirty="0">
                <a:latin typeface="Consolas"/>
                <a:cs typeface="Calibri"/>
              </a:rPr>
              <a:t>constant</a:t>
            </a:r>
            <a:r>
              <a:rPr lang="en-US" sz="1200" dirty="0">
                <a:latin typeface="Consolas"/>
                <a:cs typeface="Calibri"/>
              </a:rPr>
              <a:t> object</a:t>
            </a:r>
          </a:p>
          <a:p>
            <a:r>
              <a:rPr lang="en-US" sz="1200" dirty="0">
                <a:latin typeface="Consolas"/>
                <a:cs typeface="Calibri"/>
              </a:rPr>
              <a:t>CONSTANTS.VALUE = 2;</a:t>
            </a:r>
          </a:p>
          <a:p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CONSTANTS.VALUE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Make the </a:t>
            </a:r>
            <a:r>
              <a:rPr lang="en-US" sz="1200" i="1" dirty="0">
                <a:latin typeface="Consolas"/>
                <a:cs typeface="Calibri"/>
              </a:rPr>
              <a:t>constants</a:t>
            </a:r>
            <a:r>
              <a:rPr lang="en-US" sz="1200" dirty="0">
                <a:latin typeface="Consolas"/>
                <a:cs typeface="Calibri"/>
              </a:rPr>
              <a:t> object </a:t>
            </a:r>
            <a:r>
              <a:rPr lang="en-US" sz="1200" i="1" dirty="0">
                <a:latin typeface="Consolas"/>
                <a:cs typeface="Calibri"/>
              </a:rPr>
              <a:t>immutable</a:t>
            </a:r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 err="1">
                <a:latin typeface="Consolas"/>
                <a:cs typeface="Calibri"/>
              </a:rPr>
              <a:t>Object.freeze</a:t>
            </a:r>
            <a:r>
              <a:rPr lang="en-US" sz="1200" dirty="0">
                <a:latin typeface="Consolas"/>
                <a:cs typeface="Calibri"/>
              </a:rPr>
              <a:t>(CONSTANTS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Try and change the </a:t>
            </a:r>
            <a:r>
              <a:rPr lang="en-US" sz="1200" i="1" dirty="0">
                <a:latin typeface="Consolas"/>
                <a:cs typeface="Calibri"/>
              </a:rPr>
              <a:t>value</a:t>
            </a:r>
            <a:r>
              <a:rPr lang="en-US" sz="1200" dirty="0">
                <a:latin typeface="Consolas"/>
                <a:cs typeface="Calibri"/>
              </a:rPr>
              <a:t> property after</a:t>
            </a:r>
          </a:p>
          <a:p>
            <a:r>
              <a:rPr lang="en-US" sz="1200" dirty="0">
                <a:latin typeface="Consolas"/>
                <a:cs typeface="Calibri"/>
              </a:rPr>
              <a:t>// freezing the object</a:t>
            </a:r>
          </a:p>
          <a:p>
            <a:r>
              <a:rPr lang="en-US" sz="1200" dirty="0">
                <a:latin typeface="Consolas"/>
                <a:cs typeface="Calibri"/>
              </a:rPr>
              <a:t>CONSTANTS.VALUE = 1;</a:t>
            </a:r>
          </a:p>
          <a:p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CONSTANTS.VALUE);</a:t>
            </a:r>
          </a:p>
          <a:p>
            <a:endParaRPr lang="en-US" sz="1200" dirty="0">
              <a:latin typeface="Consolas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75873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>
                <a:solidFill>
                  <a:schemeClr val="bg1"/>
                </a:solidFill>
                <a:latin typeface="Century Gothic"/>
              </a:rPr>
              <a:t>Introduction</a:t>
            </a:r>
            <a:endParaRPr lang="es-ES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2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b="1" dirty="0">
                <a:latin typeface="Century Gothic"/>
              </a:rPr>
              <a:t>Features: Modules</a:t>
            </a:r>
          </a:p>
          <a:p>
            <a:pPr>
              <a:spcBef>
                <a:spcPct val="20000"/>
              </a:spcBef>
            </a:pPr>
            <a:r>
              <a:rPr lang="en-US" sz="1600" dirty="0">
                <a:latin typeface="Century Gothic"/>
              </a:rPr>
              <a:t>As applications grow bigger, we definitely want to split our code base into multiple files or </a:t>
            </a:r>
          </a:p>
          <a:p>
            <a:pPr>
              <a:spcBef>
                <a:spcPct val="20000"/>
              </a:spcBef>
            </a:pPr>
            <a:r>
              <a:rPr lang="en-US" sz="1600" i="1" dirty="0">
                <a:latin typeface="Century Gothic"/>
              </a:rPr>
              <a:t>modules</a:t>
            </a:r>
            <a:r>
              <a:rPr lang="en-US" sz="1600" dirty="0">
                <a:latin typeface="Century Gothic"/>
              </a:rPr>
              <a:t>. </a:t>
            </a:r>
            <a:r>
              <a:rPr lang="en-US" sz="1600" i="1" dirty="0">
                <a:latin typeface="Century Gothic"/>
              </a:rPr>
              <a:t>Modules</a:t>
            </a:r>
            <a:r>
              <a:rPr lang="en-US" sz="1600" dirty="0">
                <a:latin typeface="Century Gothic"/>
              </a:rPr>
              <a:t> may contain </a:t>
            </a:r>
            <a:r>
              <a:rPr lang="en-US" sz="1600" i="1" dirty="0">
                <a:latin typeface="Century Gothic"/>
              </a:rPr>
              <a:t>classes</a:t>
            </a:r>
            <a:r>
              <a:rPr lang="en-US" sz="1600" dirty="0">
                <a:latin typeface="Century Gothic"/>
              </a:rPr>
              <a:t>, </a:t>
            </a:r>
            <a:r>
              <a:rPr lang="en-US" sz="1600" i="1" dirty="0">
                <a:latin typeface="Century Gothic"/>
              </a:rPr>
              <a:t>functions</a:t>
            </a:r>
            <a:r>
              <a:rPr lang="en-US" sz="1600" dirty="0">
                <a:latin typeface="Century Gothic"/>
              </a:rPr>
              <a:t> or a combination of both which serve a </a:t>
            </a:r>
          </a:p>
          <a:p>
            <a:pPr>
              <a:spcBef>
                <a:spcPct val="20000"/>
              </a:spcBef>
            </a:pPr>
            <a:r>
              <a:rPr lang="en-US" sz="1600" dirty="0">
                <a:latin typeface="Century Gothic"/>
              </a:rPr>
              <a:t>specific purpose.</a:t>
            </a: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1600" dirty="0">
                <a:latin typeface="Century Gothic"/>
              </a:rPr>
              <a:t>While </a:t>
            </a:r>
            <a:r>
              <a:rPr lang="en-US" sz="1600" i="1" dirty="0">
                <a:latin typeface="Century Gothic"/>
              </a:rPr>
              <a:t>modules</a:t>
            </a:r>
            <a:r>
              <a:rPr lang="en-US" sz="1600" dirty="0">
                <a:latin typeface="Century Gothic"/>
              </a:rPr>
              <a:t> were not part of the initial </a:t>
            </a:r>
            <a:r>
              <a:rPr lang="en-US" sz="1600" i="1" dirty="0">
                <a:latin typeface="Century Gothic"/>
              </a:rPr>
              <a:t>JavaScript</a:t>
            </a:r>
            <a:r>
              <a:rPr lang="en-US" sz="1600" dirty="0">
                <a:latin typeface="Century Gothic"/>
              </a:rPr>
              <a:t> features</a:t>
            </a:r>
            <a:r>
              <a:rPr lang="en-US" sz="1600" b="1" dirty="0">
                <a:latin typeface="Century Gothic"/>
              </a:rPr>
              <a:t>*</a:t>
            </a:r>
            <a:r>
              <a:rPr lang="en-US" sz="1600" dirty="0">
                <a:latin typeface="Century Gothic"/>
              </a:rPr>
              <a:t> the community invented many mechanisms to make them available. The most relevant are:</a:t>
            </a:r>
          </a:p>
          <a:p>
            <a:pPr marL="342900" indent="-342900">
              <a:spcBef>
                <a:spcPct val="20000"/>
              </a:spcBef>
              <a:buFont typeface="+mj-lt"/>
              <a:buAutoNum type="arabicPeriod"/>
            </a:pPr>
            <a:r>
              <a:rPr lang="en-US" sz="1600" b="1" dirty="0">
                <a:latin typeface="Century Gothic"/>
              </a:rPr>
              <a:t>AMD</a:t>
            </a:r>
            <a:r>
              <a:rPr lang="en-US" sz="1600" dirty="0">
                <a:latin typeface="Century Gothic"/>
              </a:rPr>
              <a:t>: stands for </a:t>
            </a:r>
            <a:r>
              <a:rPr lang="en-US" sz="1600" i="1" dirty="0">
                <a:latin typeface="Century Gothic"/>
              </a:rPr>
              <a:t>asynchronous module definition</a:t>
            </a:r>
            <a:r>
              <a:rPr lang="en-US" sz="1600" dirty="0">
                <a:latin typeface="Century Gothic"/>
              </a:rPr>
              <a:t>. One of the most ancient ones, initially implemented by </a:t>
            </a:r>
            <a:r>
              <a:rPr lang="en-US" sz="1600" i="1" dirty="0">
                <a:latin typeface="Century Gothic"/>
                <a:hlinkClick r:id="rId11"/>
              </a:rPr>
              <a:t>require.js</a:t>
            </a:r>
            <a:r>
              <a:rPr lang="en-US" sz="1600" dirty="0">
                <a:latin typeface="Century Gothic"/>
              </a:rPr>
              <a:t>. It was extensively used on </a:t>
            </a:r>
            <a:r>
              <a:rPr lang="en-US" sz="1600" i="1" dirty="0">
                <a:latin typeface="Century Gothic"/>
              </a:rPr>
              <a:t>AngularJS</a:t>
            </a:r>
            <a:r>
              <a:rPr lang="en-US" sz="1600" dirty="0">
                <a:latin typeface="Century Gothic"/>
              </a:rPr>
              <a:t>.</a:t>
            </a:r>
          </a:p>
          <a:p>
            <a:pPr marL="342900" indent="-342900">
              <a:spcBef>
                <a:spcPct val="20000"/>
              </a:spcBef>
              <a:buFont typeface="+mj-lt"/>
              <a:buAutoNum type="arabicPeriod"/>
            </a:pPr>
            <a:r>
              <a:rPr lang="en-US" sz="1600" b="1" dirty="0">
                <a:latin typeface="Century Gothic"/>
              </a:rPr>
              <a:t>CommonJS</a:t>
            </a:r>
            <a:r>
              <a:rPr lang="en-US" sz="1600" dirty="0">
                <a:latin typeface="Century Gothic"/>
              </a:rPr>
              <a:t>: created for </a:t>
            </a:r>
            <a:r>
              <a:rPr lang="en-US" sz="1600" i="1" dirty="0">
                <a:latin typeface="Century Gothic"/>
              </a:rPr>
              <a:t>Node.js</a:t>
            </a:r>
            <a:r>
              <a:rPr lang="en-US" sz="1600" dirty="0">
                <a:latin typeface="Century Gothic"/>
              </a:rPr>
              <a:t>.</a:t>
            </a:r>
          </a:p>
          <a:p>
            <a:pPr marL="342900" indent="-342900">
              <a:spcBef>
                <a:spcPct val="20000"/>
              </a:spcBef>
              <a:buFont typeface="+mj-lt"/>
              <a:buAutoNum type="arabicPeriod"/>
            </a:pPr>
            <a:r>
              <a:rPr lang="en-US" sz="1600" b="1" dirty="0">
                <a:latin typeface="Century Gothic"/>
              </a:rPr>
              <a:t>UMD</a:t>
            </a:r>
            <a:r>
              <a:rPr lang="en-US" sz="1600" dirty="0">
                <a:latin typeface="Century Gothic"/>
              </a:rPr>
              <a:t>: stands for </a:t>
            </a:r>
            <a:r>
              <a:rPr lang="en-US" sz="1600" i="1" dirty="0">
                <a:latin typeface="Century Gothic"/>
              </a:rPr>
              <a:t>universal module definition</a:t>
            </a:r>
            <a:r>
              <a:rPr lang="en-US" sz="1600" dirty="0">
                <a:latin typeface="Century Gothic"/>
              </a:rPr>
              <a:t>. Suggested as an </a:t>
            </a:r>
            <a:r>
              <a:rPr lang="en-US" sz="1600" i="1" dirty="0">
                <a:latin typeface="Century Gothic"/>
              </a:rPr>
              <a:t>universal</a:t>
            </a:r>
            <a:r>
              <a:rPr lang="en-US" sz="1600" dirty="0">
                <a:latin typeface="Century Gothic"/>
              </a:rPr>
              <a:t> </a:t>
            </a:r>
            <a:r>
              <a:rPr lang="en-US" sz="1600" i="1" dirty="0">
                <a:latin typeface="Century Gothic"/>
              </a:rPr>
              <a:t>module</a:t>
            </a:r>
            <a:r>
              <a:rPr lang="en-US" sz="1600" dirty="0">
                <a:latin typeface="Century Gothic"/>
              </a:rPr>
              <a:t> system, supports both </a:t>
            </a:r>
            <a:r>
              <a:rPr lang="en-US" sz="1600" i="1" dirty="0">
                <a:latin typeface="Century Gothic"/>
              </a:rPr>
              <a:t>AMD</a:t>
            </a:r>
            <a:r>
              <a:rPr lang="en-US" sz="1600" dirty="0">
                <a:latin typeface="Century Gothic"/>
              </a:rPr>
              <a:t> and </a:t>
            </a:r>
            <a:r>
              <a:rPr lang="en-US" sz="1600" i="1" dirty="0">
                <a:latin typeface="Century Gothic"/>
              </a:rPr>
              <a:t>CommonJS</a:t>
            </a:r>
            <a:r>
              <a:rPr lang="en-US" sz="1600" dirty="0">
                <a:latin typeface="Century Gothic"/>
              </a:rPr>
              <a:t>.</a:t>
            </a:r>
          </a:p>
          <a:p>
            <a:pPr marL="342900" indent="-342900">
              <a:spcBef>
                <a:spcPct val="20000"/>
              </a:spcBef>
              <a:buFont typeface="+mj-lt"/>
              <a:buAutoNum type="arabicPeriod"/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1600" b="1" dirty="0">
                <a:latin typeface="Century Gothic"/>
              </a:rPr>
              <a:t>The language-level </a:t>
            </a:r>
            <a:r>
              <a:rPr lang="en-US" sz="1600" b="1" i="1" dirty="0">
                <a:latin typeface="Century Gothic"/>
              </a:rPr>
              <a:t>module</a:t>
            </a:r>
            <a:r>
              <a:rPr lang="en-US" sz="1600" b="1" dirty="0">
                <a:latin typeface="Century Gothic"/>
              </a:rPr>
              <a:t> system appeared in the standard in 2015 </a:t>
            </a:r>
            <a:r>
              <a:rPr lang="en-US" sz="1600" b="1" i="1" dirty="0">
                <a:latin typeface="Century Gothic"/>
              </a:rPr>
              <a:t>(ES6)</a:t>
            </a:r>
            <a:r>
              <a:rPr lang="en-US" sz="1600" b="1" dirty="0">
                <a:latin typeface="Century Gothic"/>
              </a:rPr>
              <a:t> </a:t>
            </a:r>
            <a:r>
              <a:rPr lang="en-US" sz="1600" dirty="0">
                <a:latin typeface="Century Gothic"/>
              </a:rPr>
              <a:t>and has gradually evolved since then, being now supported by all major browsers and </a:t>
            </a:r>
            <a:r>
              <a:rPr lang="en-US" sz="1600" i="1" dirty="0">
                <a:latin typeface="Century Gothic"/>
              </a:rPr>
              <a:t>Node.js</a:t>
            </a:r>
            <a:r>
              <a:rPr lang="en-US" sz="1600" dirty="0">
                <a:latin typeface="Century Gothic"/>
              </a:rPr>
              <a:t>. On the later it is still an experimental feature and has to be manually enabled.</a:t>
            </a: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1400" dirty="0">
                <a:latin typeface="Century Gothic"/>
              </a:rPr>
              <a:t>* Can you guess why </a:t>
            </a:r>
            <a:r>
              <a:rPr lang="en-US" sz="1400" i="1" dirty="0">
                <a:latin typeface="Century Gothic"/>
              </a:rPr>
              <a:t>modules</a:t>
            </a:r>
            <a:r>
              <a:rPr lang="en-US" sz="1400" dirty="0">
                <a:latin typeface="Century Gothic"/>
              </a:rPr>
              <a:t> were initially not an important feature for </a:t>
            </a:r>
            <a:r>
              <a:rPr lang="en-US" sz="1400" i="1" dirty="0">
                <a:latin typeface="Century Gothic"/>
              </a:rPr>
              <a:t>JavaScript</a:t>
            </a:r>
            <a:r>
              <a:rPr lang="en-US" sz="1400" dirty="0">
                <a:latin typeface="Century Gothic"/>
              </a:rPr>
              <a:t>?</a:t>
            </a:r>
          </a:p>
        </p:txBody>
      </p:sp>
      <p:pic>
        <p:nvPicPr>
          <p:cNvPr id="41537" name="Picture 577">
            <a:extLst>
              <a:ext uri="{FF2B5EF4-FFF2-40B4-BE49-F238E27FC236}">
                <a16:creationId xmlns:a16="http://schemas.microsoft.com/office/drawing/2014/main" id="{468E00A5-3FA0-A848-B9BF-6487463C30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0" y="1096874"/>
            <a:ext cx="1268184" cy="1268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23">
            <a:extLst>
              <a:ext uri="{FF2B5EF4-FFF2-40B4-BE49-F238E27FC236}">
                <a16:creationId xmlns:a16="http://schemas.microsoft.com/office/drawing/2014/main" id="{D17781F2-1020-4343-B88F-03234841DEB0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JavaScript</a:t>
            </a:r>
            <a:endParaRPr lang="es-ES" i="1" dirty="0"/>
          </a:p>
        </p:txBody>
      </p:sp>
    </p:spTree>
    <p:extLst>
      <p:ext uri="{BB962C8B-B14F-4D97-AF65-F5344CB8AC3E}">
        <p14:creationId xmlns:p14="http://schemas.microsoft.com/office/powerpoint/2010/main" val="2474786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2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b="1" dirty="0">
                <a:latin typeface="Century Gothic"/>
              </a:rPr>
              <a:t>Features: Modules examples</a:t>
            </a: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1600" b="1" dirty="0">
                <a:latin typeface="Century Gothic"/>
              </a:rPr>
              <a:t>Module code is only evaluated once and it is shared by all importers</a:t>
            </a:r>
            <a:r>
              <a:rPr lang="en-US" sz="1600" dirty="0">
                <a:latin typeface="Century Gothic"/>
              </a:rPr>
              <a:t>. This means that if we want to use something multiple times, it’s better to export it than to keep it within the module.</a:t>
            </a:r>
          </a:p>
          <a:p>
            <a:pPr>
              <a:spcBef>
                <a:spcPct val="20000"/>
              </a:spcBef>
            </a:pPr>
            <a:r>
              <a:rPr lang="en-US" sz="1600" dirty="0">
                <a:latin typeface="Century Gothic"/>
              </a:rPr>
              <a:t>Modules can also be used to encapsulate code/functions we want to keep private.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A4FBB38A-5673-B343-8A22-C5F9D3568034}"/>
              </a:ext>
            </a:extLst>
          </p:cNvPr>
          <p:cNvSpPr/>
          <p:nvPr/>
        </p:nvSpPr>
        <p:spPr>
          <a:xfrm>
            <a:off x="8108355" y="1730965"/>
            <a:ext cx="3735301" cy="379897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  <a:cs typeface="Calibri"/>
              </a:rPr>
              <a:t>// Sample module B</a:t>
            </a:r>
          </a:p>
          <a:p>
            <a:r>
              <a:rPr lang="en-US" sz="1200" dirty="0">
                <a:latin typeface="Consolas"/>
                <a:cs typeface="Calibri"/>
              </a:rPr>
              <a:t>const CONSTANTS = require(‘./constants’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const </a:t>
            </a:r>
            <a:r>
              <a:rPr lang="en-US" sz="1200" dirty="0" err="1">
                <a:latin typeface="Consolas"/>
                <a:cs typeface="Calibri"/>
              </a:rPr>
              <a:t>generateTrace</a:t>
            </a:r>
            <a:r>
              <a:rPr lang="en-US" sz="1200" dirty="0">
                <a:latin typeface="Consolas"/>
                <a:cs typeface="Calibri"/>
              </a:rPr>
              <a:t> = (message) =&gt; {</a:t>
            </a:r>
          </a:p>
          <a:p>
            <a:r>
              <a:rPr lang="en-US" sz="1200" dirty="0">
                <a:latin typeface="Consolas"/>
                <a:cs typeface="Calibri"/>
              </a:rPr>
              <a:t>  return {</a:t>
            </a:r>
          </a:p>
          <a:p>
            <a:r>
              <a:rPr lang="en-US" sz="1200" dirty="0">
                <a:latin typeface="Consolas"/>
                <a:cs typeface="Calibri"/>
              </a:rPr>
              <a:t>    </a:t>
            </a:r>
            <a:r>
              <a:rPr lang="en-US" sz="1200" dirty="0" err="1">
                <a:latin typeface="Consolas"/>
                <a:cs typeface="Calibri"/>
              </a:rPr>
              <a:t>loglevel</a:t>
            </a:r>
            <a:r>
              <a:rPr lang="en-US" sz="1200" dirty="0">
                <a:latin typeface="Consolas"/>
                <a:cs typeface="Calibri"/>
              </a:rPr>
              <a:t>: CONSTANTS.LOG_LEVEL,</a:t>
            </a:r>
          </a:p>
          <a:p>
            <a:r>
              <a:rPr lang="en-US" sz="1200" dirty="0">
                <a:latin typeface="Consolas"/>
                <a:cs typeface="Calibri"/>
              </a:rPr>
              <a:t>    message,</a:t>
            </a:r>
          </a:p>
          <a:p>
            <a:r>
              <a:rPr lang="en-US" sz="1200" dirty="0">
                <a:latin typeface="Consolas"/>
                <a:cs typeface="Calibri"/>
              </a:rPr>
              <a:t>    timestamp: </a:t>
            </a:r>
            <a:r>
              <a:rPr lang="en-US" sz="1200" dirty="0" err="1">
                <a:latin typeface="Consolas"/>
                <a:cs typeface="Calibri"/>
              </a:rPr>
              <a:t>Date.now</a:t>
            </a:r>
            <a:r>
              <a:rPr lang="en-US" sz="1200" dirty="0">
                <a:latin typeface="Consolas"/>
                <a:cs typeface="Calibri"/>
              </a:rPr>
              <a:t>()</a:t>
            </a:r>
          </a:p>
          <a:p>
            <a:r>
              <a:rPr lang="en-US" sz="1200" dirty="0">
                <a:latin typeface="Consolas"/>
                <a:cs typeface="Calibri"/>
              </a:rPr>
              <a:t>  };</a:t>
            </a:r>
          </a:p>
          <a:p>
            <a:r>
              <a:rPr lang="en-US" sz="1200" dirty="0">
                <a:latin typeface="Consolas"/>
                <a:cs typeface="Calibri"/>
              </a:rPr>
              <a:t>}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You can export an anonymous object</a:t>
            </a:r>
          </a:p>
          <a:p>
            <a:r>
              <a:rPr lang="en-US" sz="1200" dirty="0" err="1">
                <a:latin typeface="Consolas"/>
                <a:cs typeface="Calibri"/>
              </a:rPr>
              <a:t>module.exports</a:t>
            </a:r>
            <a:r>
              <a:rPr lang="en-US" sz="1200" dirty="0">
                <a:latin typeface="Consolas"/>
                <a:cs typeface="Calibri"/>
              </a:rPr>
              <a:t> = {</a:t>
            </a:r>
          </a:p>
          <a:p>
            <a:r>
              <a:rPr lang="en-US" sz="1200" dirty="0">
                <a:latin typeface="Consolas"/>
                <a:cs typeface="Calibri"/>
              </a:rPr>
              <a:t> </a:t>
            </a:r>
            <a:r>
              <a:rPr lang="en-US" sz="1200" dirty="0" err="1">
                <a:latin typeface="Consolas"/>
                <a:cs typeface="Calibri"/>
              </a:rPr>
              <a:t>generateTrace</a:t>
            </a:r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};</a:t>
            </a:r>
          </a:p>
          <a:p>
            <a:endParaRPr lang="en-US" sz="1200" dirty="0">
              <a:latin typeface="Consolas"/>
              <a:cs typeface="Calibri"/>
            </a:endParaRPr>
          </a:p>
        </p:txBody>
      </p:sp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>
                <a:solidFill>
                  <a:schemeClr val="bg1"/>
                </a:solidFill>
                <a:latin typeface="Century Gothic"/>
              </a:rPr>
              <a:t>Introduction</a:t>
            </a:r>
            <a:endParaRPr lang="es-ES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37" name="Picture 577">
            <a:extLst>
              <a:ext uri="{FF2B5EF4-FFF2-40B4-BE49-F238E27FC236}">
                <a16:creationId xmlns:a16="http://schemas.microsoft.com/office/drawing/2014/main" id="{468E00A5-3FA0-A848-B9BF-6487463C30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0" y="1096874"/>
            <a:ext cx="1268184" cy="1268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23">
            <a:extLst>
              <a:ext uri="{FF2B5EF4-FFF2-40B4-BE49-F238E27FC236}">
                <a16:creationId xmlns:a16="http://schemas.microsoft.com/office/drawing/2014/main" id="{D17781F2-1020-4343-B88F-03234841DEB0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JavaScript</a:t>
            </a:r>
            <a:endParaRPr lang="es-ES" i="1" dirty="0"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EAD13079-1028-D148-B500-00D4BBEF75E6}"/>
              </a:ext>
            </a:extLst>
          </p:cNvPr>
          <p:cNvSpPr/>
          <p:nvPr/>
        </p:nvSpPr>
        <p:spPr>
          <a:xfrm>
            <a:off x="4428984" y="1730966"/>
            <a:ext cx="3506703" cy="379897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  <a:cs typeface="Calibri"/>
              </a:rPr>
              <a:t>// Sample module A</a:t>
            </a:r>
          </a:p>
          <a:p>
            <a:r>
              <a:rPr lang="en-US" sz="1200" dirty="0">
                <a:latin typeface="Consolas"/>
                <a:cs typeface="Calibri"/>
              </a:rPr>
              <a:t>const initialize = () =&gt; {</a:t>
            </a:r>
          </a:p>
          <a:p>
            <a:r>
              <a:rPr lang="en-US" sz="1200" dirty="0">
                <a:latin typeface="Consolas"/>
                <a:cs typeface="Calibri"/>
              </a:rPr>
              <a:t>  return {</a:t>
            </a:r>
          </a:p>
          <a:p>
            <a:r>
              <a:rPr lang="en-US" sz="1200" dirty="0">
                <a:latin typeface="Consolas"/>
                <a:cs typeface="Calibri"/>
              </a:rPr>
              <a:t>    name: ‘Pedro’</a:t>
            </a:r>
          </a:p>
          <a:p>
            <a:r>
              <a:rPr lang="en-US" sz="1200" dirty="0">
                <a:latin typeface="Consolas"/>
                <a:cs typeface="Calibri"/>
              </a:rPr>
              <a:t>  };</a:t>
            </a:r>
          </a:p>
          <a:p>
            <a:r>
              <a:rPr lang="en-US" sz="1200" dirty="0">
                <a:latin typeface="Consolas"/>
                <a:cs typeface="Calibri"/>
              </a:rPr>
              <a:t>}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class </a:t>
            </a:r>
            <a:r>
              <a:rPr lang="en-US" sz="1200" dirty="0" err="1">
                <a:latin typeface="Consolas"/>
                <a:cs typeface="Calibri"/>
              </a:rPr>
              <a:t>SampleService</a:t>
            </a:r>
            <a:r>
              <a:rPr lang="en-US" sz="1200" dirty="0">
                <a:latin typeface="Consolas"/>
                <a:cs typeface="Calibri"/>
              </a:rPr>
              <a:t> {</a:t>
            </a:r>
          </a:p>
          <a:p>
            <a:r>
              <a:rPr lang="en-US" sz="1200" dirty="0">
                <a:latin typeface="Consolas"/>
                <a:cs typeface="Calibri"/>
              </a:rPr>
              <a:t>  constructor() {</a:t>
            </a:r>
          </a:p>
          <a:p>
            <a:r>
              <a:rPr lang="en-US" sz="1200" dirty="0">
                <a:latin typeface="Consolas"/>
                <a:cs typeface="Calibri"/>
              </a:rPr>
              <a:t>    </a:t>
            </a:r>
            <a:r>
              <a:rPr lang="en-US" sz="1200" dirty="0" err="1">
                <a:latin typeface="Consolas"/>
                <a:cs typeface="Calibri"/>
              </a:rPr>
              <a:t>this._state</a:t>
            </a:r>
            <a:r>
              <a:rPr lang="en-US" sz="1200" dirty="0">
                <a:latin typeface="Consolas"/>
                <a:cs typeface="Calibri"/>
              </a:rPr>
              <a:t> = initialize();</a:t>
            </a:r>
          </a:p>
          <a:p>
            <a:r>
              <a:rPr lang="en-US" sz="1200" dirty="0">
                <a:latin typeface="Consolas"/>
                <a:cs typeface="Calibri"/>
              </a:rPr>
              <a:t>  }</a:t>
            </a:r>
          </a:p>
          <a:p>
            <a:r>
              <a:rPr lang="en-US" sz="1200" dirty="0">
                <a:latin typeface="Consolas"/>
                <a:cs typeface="Calibri"/>
              </a:rPr>
              <a:t>}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You can export an object instance</a:t>
            </a:r>
          </a:p>
          <a:p>
            <a:r>
              <a:rPr lang="en-US" sz="1200" dirty="0" err="1">
                <a:latin typeface="Consolas"/>
                <a:cs typeface="Calibri"/>
              </a:rPr>
              <a:t>module.exports</a:t>
            </a:r>
            <a:r>
              <a:rPr lang="en-US" sz="1200" dirty="0">
                <a:latin typeface="Consolas"/>
                <a:cs typeface="Calibri"/>
              </a:rPr>
              <a:t> = new </a:t>
            </a:r>
            <a:r>
              <a:rPr lang="en-US" sz="1200" dirty="0" err="1">
                <a:latin typeface="Consolas"/>
                <a:cs typeface="Calibri"/>
              </a:rPr>
              <a:t>SampleService</a:t>
            </a:r>
            <a:r>
              <a:rPr lang="en-US" sz="1200" dirty="0">
                <a:latin typeface="Consolas"/>
                <a:cs typeface="Calibri"/>
              </a:rPr>
              <a:t>();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A4B61F12-E353-9641-BEFD-4971D1B3BE9D}"/>
              </a:ext>
            </a:extLst>
          </p:cNvPr>
          <p:cNvSpPr/>
          <p:nvPr/>
        </p:nvSpPr>
        <p:spPr>
          <a:xfrm>
            <a:off x="248877" y="1730966"/>
            <a:ext cx="4007438" cy="379897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</a:rPr>
              <a:t>// Requiring Node APIs or installed modules</a:t>
            </a:r>
          </a:p>
          <a:p>
            <a:r>
              <a:rPr lang="en-US" sz="1200" dirty="0">
                <a:latin typeface="Consolas"/>
              </a:rPr>
              <a:t>// can be done without specifying a path.</a:t>
            </a:r>
          </a:p>
          <a:p>
            <a:r>
              <a:rPr lang="en-US" sz="1200" dirty="0">
                <a:latin typeface="Consolas"/>
              </a:rPr>
              <a:t>const http = require(‘http’);</a:t>
            </a:r>
          </a:p>
          <a:p>
            <a:r>
              <a:rPr lang="en-US" sz="1200" dirty="0">
                <a:latin typeface="Consolas"/>
              </a:rPr>
              <a:t>const </a:t>
            </a:r>
            <a:r>
              <a:rPr lang="en-US" sz="1200" dirty="0" err="1">
                <a:latin typeface="Consolas"/>
              </a:rPr>
              <a:t>axios</a:t>
            </a:r>
            <a:r>
              <a:rPr lang="en-US" sz="1200" dirty="0">
                <a:latin typeface="Consolas"/>
              </a:rPr>
              <a:t> = require(‘</a:t>
            </a:r>
            <a:r>
              <a:rPr lang="en-US" sz="1200" dirty="0" err="1">
                <a:latin typeface="Consolas"/>
              </a:rPr>
              <a:t>axios</a:t>
            </a:r>
            <a:r>
              <a:rPr lang="en-US" sz="1200" dirty="0">
                <a:latin typeface="Consolas"/>
              </a:rPr>
              <a:t>’);</a:t>
            </a:r>
          </a:p>
          <a:p>
            <a:endParaRPr lang="en-US" sz="1200" dirty="0">
              <a:latin typeface="Consolas"/>
            </a:endParaRPr>
          </a:p>
          <a:p>
            <a:r>
              <a:rPr lang="en-US" sz="1200" dirty="0">
                <a:latin typeface="Consolas"/>
              </a:rPr>
              <a:t>// Relative path from the importer must be </a:t>
            </a:r>
          </a:p>
          <a:p>
            <a:r>
              <a:rPr lang="en-US" sz="1200" dirty="0">
                <a:latin typeface="Consolas"/>
              </a:rPr>
              <a:t>// specified for local modules</a:t>
            </a:r>
          </a:p>
          <a:p>
            <a:r>
              <a:rPr lang="en-US" sz="1200" dirty="0">
                <a:latin typeface="Consolas"/>
                <a:cs typeface="Calibri"/>
              </a:rPr>
              <a:t>const </a:t>
            </a:r>
            <a:r>
              <a:rPr lang="en-US" sz="1200" dirty="0" err="1">
                <a:latin typeface="Consolas"/>
                <a:cs typeface="Calibri"/>
              </a:rPr>
              <a:t>myService</a:t>
            </a:r>
            <a:r>
              <a:rPr lang="en-US" sz="1200" dirty="0">
                <a:latin typeface="Consolas"/>
                <a:cs typeface="Calibri"/>
              </a:rPr>
              <a:t> = require(‘./</a:t>
            </a:r>
            <a:r>
              <a:rPr lang="en-US" sz="1200" dirty="0" err="1">
                <a:latin typeface="Consolas"/>
                <a:cs typeface="Calibri"/>
              </a:rPr>
              <a:t>myservice</a:t>
            </a:r>
            <a:r>
              <a:rPr lang="en-US" sz="1200" dirty="0">
                <a:latin typeface="Consolas"/>
                <a:cs typeface="Calibri"/>
              </a:rPr>
              <a:t>’);</a:t>
            </a:r>
            <a:endParaRPr lang="en-US" sz="1200" dirty="0">
              <a:latin typeface="Consolas"/>
            </a:endParaRPr>
          </a:p>
          <a:p>
            <a:r>
              <a:rPr lang="en-US" sz="1200" dirty="0">
                <a:latin typeface="Consolas"/>
                <a:cs typeface="Calibri"/>
              </a:rPr>
              <a:t>const CONSTANTS = require(‘./core/constants’);</a:t>
            </a:r>
          </a:p>
        </p:txBody>
      </p:sp>
    </p:spTree>
    <p:extLst>
      <p:ext uri="{BB962C8B-B14F-4D97-AF65-F5344CB8AC3E}">
        <p14:creationId xmlns:p14="http://schemas.microsoft.com/office/powerpoint/2010/main" val="2366928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3716000" cy="6885384"/>
          </a:xfrm>
          <a:prstGeom prst="rect">
            <a:avLst/>
          </a:prstGeom>
        </p:spPr>
      </p:pic>
      <p:sp>
        <p:nvSpPr>
          <p:cNvPr id="24" name="Rectangle 28"/>
          <p:cNvSpPr/>
          <p:nvPr/>
        </p:nvSpPr>
        <p:spPr>
          <a:xfrm>
            <a:off x="2" y="2"/>
            <a:ext cx="7315198" cy="6857999"/>
          </a:xfrm>
          <a:prstGeom prst="rect">
            <a:avLst/>
          </a:prstGeom>
          <a:solidFill>
            <a:srgbClr val="000000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375467">
              <a:defRPr/>
            </a:pPr>
            <a:endParaRPr lang="en-US" sz="2667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Rectangle 23"/>
          <p:cNvSpPr/>
          <p:nvPr/>
        </p:nvSpPr>
        <p:spPr>
          <a:xfrm>
            <a:off x="1048364" y="221159"/>
            <a:ext cx="135646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75467"/>
            <a:r>
              <a:rPr lang="en-US" sz="3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INDEX</a:t>
            </a:r>
          </a:p>
        </p:txBody>
      </p:sp>
      <p:cxnSp>
        <p:nvCxnSpPr>
          <p:cNvPr id="27" name="Straight Connector 24"/>
          <p:cNvCxnSpPr/>
          <p:nvPr/>
        </p:nvCxnSpPr>
        <p:spPr>
          <a:xfrm>
            <a:off x="593444" y="836712"/>
            <a:ext cx="3996000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46" name="45 CuadroTexto"/>
          <p:cNvSpPr txBox="1"/>
          <p:nvPr/>
        </p:nvSpPr>
        <p:spPr>
          <a:xfrm>
            <a:off x="431373" y="1001627"/>
            <a:ext cx="7582860" cy="230832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Introduction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3200" dirty="0">
                <a:solidFill>
                  <a:schemeClr val="bg1"/>
                </a:solidFill>
                <a:latin typeface="Century Gothic"/>
              </a:rPr>
              <a:t>Node.js</a:t>
            </a:r>
            <a:endParaRPr lang="en-US" sz="3200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Flow control mechanisms</a:t>
            </a:r>
            <a:endParaRPr lang="en-US" sz="2400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</a:endParaRP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Q&amp;A</a:t>
            </a:r>
          </a:p>
        </p:txBody>
      </p:sp>
      <p:sp>
        <p:nvSpPr>
          <p:cNvPr id="11" name="16 Rectángulo"/>
          <p:cNvSpPr/>
          <p:nvPr/>
        </p:nvSpPr>
        <p:spPr>
          <a:xfrm>
            <a:off x="7315200" y="-27384"/>
            <a:ext cx="49827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9747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ángulo redondeado 19">
            <a:extLst>
              <a:ext uri="{FF2B5EF4-FFF2-40B4-BE49-F238E27FC236}">
                <a16:creationId xmlns:a16="http://schemas.microsoft.com/office/drawing/2014/main" id="{55BE51A7-010B-934E-B658-AB0F11B25732}"/>
              </a:ext>
            </a:extLst>
          </p:cNvPr>
          <p:cNvSpPr/>
          <p:nvPr/>
        </p:nvSpPr>
        <p:spPr>
          <a:xfrm>
            <a:off x="5956569" y="3798155"/>
            <a:ext cx="5059774" cy="2567693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sz="1600" dirty="0">
                <a:latin typeface="Century Gothic" panose="020B0502020202020204" pitchFamily="34" charset="0"/>
              </a:rPr>
              <a:t>Event loop</a:t>
            </a:r>
          </a:p>
        </p:txBody>
      </p:sp>
      <p:sp>
        <p:nvSpPr>
          <p:cNvPr id="19" name="Rectángulo redondeado 18">
            <a:extLst>
              <a:ext uri="{FF2B5EF4-FFF2-40B4-BE49-F238E27FC236}">
                <a16:creationId xmlns:a16="http://schemas.microsoft.com/office/drawing/2014/main" id="{4B34D5DE-8F90-D94F-8302-071B2812CE41}"/>
              </a:ext>
            </a:extLst>
          </p:cNvPr>
          <p:cNvSpPr/>
          <p:nvPr/>
        </p:nvSpPr>
        <p:spPr>
          <a:xfrm>
            <a:off x="3657318" y="3802311"/>
            <a:ext cx="1959429" cy="2567693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sz="1600" dirty="0">
                <a:latin typeface="Century Gothic" panose="020B0502020202020204" pitchFamily="34" charset="0"/>
              </a:rPr>
              <a:t>Node.js</a:t>
            </a:r>
          </a:p>
          <a:p>
            <a:pPr algn="ctr"/>
            <a:r>
              <a:rPr lang="en-US" sz="1600" dirty="0">
                <a:latin typeface="Century Gothic" panose="020B0502020202020204" pitchFamily="34" charset="0"/>
              </a:rPr>
              <a:t>bindings</a:t>
            </a:r>
          </a:p>
        </p:txBody>
      </p:sp>
      <p:sp>
        <p:nvSpPr>
          <p:cNvPr id="18" name="Rectángulo redondeado 17">
            <a:extLst>
              <a:ext uri="{FF2B5EF4-FFF2-40B4-BE49-F238E27FC236}">
                <a16:creationId xmlns:a16="http://schemas.microsoft.com/office/drawing/2014/main" id="{4258D6EA-FFB4-7D4D-8C33-98AD8C3A253A}"/>
              </a:ext>
            </a:extLst>
          </p:cNvPr>
          <p:cNvSpPr/>
          <p:nvPr/>
        </p:nvSpPr>
        <p:spPr>
          <a:xfrm>
            <a:off x="1436633" y="4896113"/>
            <a:ext cx="1959429" cy="1473891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b"/>
          <a:lstStyle/>
          <a:p>
            <a:pPr algn="ctr"/>
            <a:r>
              <a:rPr lang="en-US" sz="1600" dirty="0">
                <a:latin typeface="Century Gothic" panose="020B0502020202020204" pitchFamily="34" charset="0"/>
              </a:rPr>
              <a:t>V8</a:t>
            </a:r>
          </a:p>
        </p:txBody>
      </p:sp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Node.js</a:t>
            </a:r>
            <a:endParaRPr lang="es-ES" dirty="0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13">
            <a:extLst>
              <a:ext uri="{FF2B5EF4-FFF2-40B4-BE49-F238E27FC236}">
                <a16:creationId xmlns:a16="http://schemas.microsoft.com/office/drawing/2014/main" id="{A362EEB9-375B-2E4C-A184-2674A21308CD}"/>
              </a:ext>
            </a:extLst>
          </p:cNvPr>
          <p:cNvSpPr/>
          <p:nvPr/>
        </p:nvSpPr>
        <p:spPr>
          <a:xfrm>
            <a:off x="348344" y="1193524"/>
            <a:ext cx="11625942" cy="219522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b="1" dirty="0">
                <a:latin typeface="Century Gothic"/>
              </a:rPr>
              <a:t>Node.js</a:t>
            </a:r>
            <a:r>
              <a:rPr lang="en-US" sz="2000" dirty="0">
                <a:latin typeface="Century Gothic"/>
              </a:rPr>
              <a:t> is a </a:t>
            </a:r>
            <a:r>
              <a:rPr lang="en-US" sz="2000" i="1" dirty="0">
                <a:latin typeface="Century Gothic"/>
              </a:rPr>
              <a:t>JavaScript</a:t>
            </a:r>
            <a:r>
              <a:rPr lang="en-US" sz="2000" dirty="0">
                <a:latin typeface="Century Gothic"/>
              </a:rPr>
              <a:t> runtime built on </a:t>
            </a:r>
            <a:r>
              <a:rPr lang="en-US" sz="2000" i="1" dirty="0">
                <a:latin typeface="Century Gothic"/>
              </a:rPr>
              <a:t>Chrome’s V8 JavaScript engine</a:t>
            </a:r>
            <a:r>
              <a:rPr lang="en-US" sz="2000" dirty="0">
                <a:latin typeface="Century Gothic"/>
              </a:rPr>
              <a:t>. While </a:t>
            </a:r>
            <a:r>
              <a:rPr lang="en-US" sz="2000" b="1" dirty="0">
                <a:latin typeface="Century Gothic"/>
              </a:rPr>
              <a:t>V8</a:t>
            </a:r>
            <a:r>
              <a:rPr lang="en-US" sz="2000" dirty="0">
                <a:latin typeface="Century Gothic"/>
              </a:rPr>
              <a:t> is written in </a:t>
            </a:r>
            <a:r>
              <a:rPr lang="en-US" sz="2000" i="1" dirty="0">
                <a:latin typeface="Century Gothic"/>
              </a:rPr>
              <a:t>C++ </a:t>
            </a:r>
            <a:r>
              <a:rPr lang="en-US" sz="2000" dirty="0">
                <a:latin typeface="Century Gothic"/>
              </a:rPr>
              <a:t>and provides an </a:t>
            </a:r>
            <a:r>
              <a:rPr lang="en-US" sz="2000" b="1" dirty="0">
                <a:latin typeface="Century Gothic"/>
              </a:rPr>
              <a:t>open source high-performance </a:t>
            </a:r>
            <a:r>
              <a:rPr lang="en-US" sz="2000" i="1" dirty="0">
                <a:latin typeface="Century Gothic"/>
              </a:rPr>
              <a:t>JavaScript</a:t>
            </a:r>
            <a:r>
              <a:rPr lang="en-US" sz="2000" dirty="0">
                <a:latin typeface="Century Gothic"/>
              </a:rPr>
              <a:t> and </a:t>
            </a:r>
            <a:r>
              <a:rPr lang="en-US" sz="2000" i="1" dirty="0" err="1">
                <a:latin typeface="Century Gothic"/>
              </a:rPr>
              <a:t>WebAssembly</a:t>
            </a:r>
            <a:r>
              <a:rPr lang="en-US" sz="2000" dirty="0">
                <a:latin typeface="Century Gothic"/>
              </a:rPr>
              <a:t> runtime, it is still limited to a </a:t>
            </a:r>
            <a:r>
              <a:rPr lang="en-US" sz="2000" i="1" dirty="0">
                <a:latin typeface="Century Gothic"/>
              </a:rPr>
              <a:t>single-thread</a:t>
            </a:r>
            <a:r>
              <a:rPr lang="en-US" sz="2000" dirty="0">
                <a:latin typeface="Century Gothic"/>
              </a:rPr>
              <a:t> interpreter.</a:t>
            </a:r>
          </a:p>
          <a:p>
            <a:pPr>
              <a:spcBef>
                <a:spcPct val="20000"/>
              </a:spcBef>
            </a:pPr>
            <a:r>
              <a:rPr lang="en-US" sz="2000" dirty="0">
                <a:latin typeface="Century Gothic"/>
              </a:rPr>
              <a:t>In order to access system resources on a performant way, </a:t>
            </a:r>
            <a:r>
              <a:rPr lang="en-US" sz="2000" i="1" dirty="0">
                <a:latin typeface="Century Gothic"/>
              </a:rPr>
              <a:t>Node.js</a:t>
            </a:r>
            <a:r>
              <a:rPr lang="en-US" sz="2000" dirty="0">
                <a:latin typeface="Century Gothic"/>
              </a:rPr>
              <a:t> uses an </a:t>
            </a:r>
            <a:r>
              <a:rPr lang="en-US" sz="2000" b="1" i="1" dirty="0">
                <a:latin typeface="Century Gothic"/>
              </a:rPr>
              <a:t>event loop</a:t>
            </a:r>
            <a:r>
              <a:rPr lang="en-US" sz="2000" b="1" dirty="0">
                <a:latin typeface="Century Gothic"/>
              </a:rPr>
              <a:t> </a:t>
            </a:r>
            <a:r>
              <a:rPr lang="en-US" sz="2000" dirty="0">
                <a:latin typeface="Century Gothic"/>
              </a:rPr>
              <a:t>in order to perform </a:t>
            </a:r>
            <a:r>
              <a:rPr lang="en-US" sz="2000" b="1" dirty="0">
                <a:latin typeface="Century Gothic"/>
              </a:rPr>
              <a:t>non-blocking asynchronous I/O operations </a:t>
            </a:r>
            <a:r>
              <a:rPr lang="en-US" sz="2000" dirty="0">
                <a:latin typeface="Century Gothic"/>
              </a:rPr>
              <a:t>– this </a:t>
            </a:r>
            <a:r>
              <a:rPr lang="en-US" sz="2000" i="1" dirty="0">
                <a:latin typeface="Century Gothic"/>
              </a:rPr>
              <a:t>event loop</a:t>
            </a:r>
            <a:r>
              <a:rPr lang="en-US" sz="2000" dirty="0">
                <a:latin typeface="Century Gothic"/>
              </a:rPr>
              <a:t> is implemented using </a:t>
            </a:r>
            <a:r>
              <a:rPr lang="en-US" sz="2000" b="1" dirty="0" err="1">
                <a:latin typeface="Century Gothic"/>
              </a:rPr>
              <a:t>libuv</a:t>
            </a:r>
            <a:r>
              <a:rPr lang="en-US" sz="2000" dirty="0">
                <a:latin typeface="Century Gothic"/>
              </a:rPr>
              <a:t>.</a:t>
            </a:r>
          </a:p>
        </p:txBody>
      </p:sp>
      <p:pic>
        <p:nvPicPr>
          <p:cNvPr id="31304" name="Picture 584">
            <a:extLst>
              <a:ext uri="{FF2B5EF4-FFF2-40B4-BE49-F238E27FC236}">
                <a16:creationId xmlns:a16="http://schemas.microsoft.com/office/drawing/2014/main" id="{4E845470-054E-F445-A24E-3D1BE563EE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7767" y="5082002"/>
            <a:ext cx="817159" cy="817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311" name="Picture 591" descr="Logo">
            <a:extLst>
              <a:ext uri="{FF2B5EF4-FFF2-40B4-BE49-F238E27FC236}">
                <a16:creationId xmlns:a16="http://schemas.microsoft.com/office/drawing/2014/main" id="{D4B74BCA-50BB-6745-BB98-A18775C454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5783" y="3619909"/>
            <a:ext cx="558497" cy="558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ángulo redondeado 1">
            <a:extLst>
              <a:ext uri="{FF2B5EF4-FFF2-40B4-BE49-F238E27FC236}">
                <a16:creationId xmlns:a16="http://schemas.microsoft.com/office/drawing/2014/main" id="{1FE5DAC9-9DDC-4B4D-8D4C-913EEE3F7A00}"/>
              </a:ext>
            </a:extLst>
          </p:cNvPr>
          <p:cNvSpPr/>
          <p:nvPr/>
        </p:nvSpPr>
        <p:spPr>
          <a:xfrm>
            <a:off x="1436633" y="3802312"/>
            <a:ext cx="1959429" cy="708301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Century Gothic" panose="020B0502020202020204" pitchFamily="34" charset="0"/>
              </a:rPr>
              <a:t>Application</a:t>
            </a:r>
          </a:p>
        </p:txBody>
      </p:sp>
      <p:cxnSp>
        <p:nvCxnSpPr>
          <p:cNvPr id="4" name="Conector recto de flecha 3">
            <a:extLst>
              <a:ext uri="{FF2B5EF4-FFF2-40B4-BE49-F238E27FC236}">
                <a16:creationId xmlns:a16="http://schemas.microsoft.com/office/drawing/2014/main" id="{97394FA1-2DB7-AF4A-9B45-41BC0D522A50}"/>
              </a:ext>
            </a:extLst>
          </p:cNvPr>
          <p:cNvCxnSpPr/>
          <p:nvPr/>
        </p:nvCxnSpPr>
        <p:spPr>
          <a:xfrm flipV="1">
            <a:off x="1721142" y="4575600"/>
            <a:ext cx="0" cy="232913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6" name="Conector recto de flecha 25">
            <a:extLst>
              <a:ext uri="{FF2B5EF4-FFF2-40B4-BE49-F238E27FC236}">
                <a16:creationId xmlns:a16="http://schemas.microsoft.com/office/drawing/2014/main" id="{4B2A4BC8-63EE-C54B-86AF-15D02CAF01D3}"/>
              </a:ext>
            </a:extLst>
          </p:cNvPr>
          <p:cNvCxnSpPr/>
          <p:nvPr/>
        </p:nvCxnSpPr>
        <p:spPr>
          <a:xfrm flipV="1">
            <a:off x="3130583" y="4575600"/>
            <a:ext cx="0" cy="23291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" name="CuadroTexto 7">
            <a:extLst>
              <a:ext uri="{FF2B5EF4-FFF2-40B4-BE49-F238E27FC236}">
                <a16:creationId xmlns:a16="http://schemas.microsoft.com/office/drawing/2014/main" id="{4BE33452-0620-3149-A981-E3AA88C9DBE2}"/>
              </a:ext>
            </a:extLst>
          </p:cNvPr>
          <p:cNvSpPr txBox="1"/>
          <p:nvPr/>
        </p:nvSpPr>
        <p:spPr>
          <a:xfrm>
            <a:off x="1872278" y="4560792"/>
            <a:ext cx="1088136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s-ES" sz="1400" i="1" dirty="0">
                <a:latin typeface="Century Gothic" panose="020B0502020202020204" pitchFamily="34" charset="0"/>
              </a:rPr>
              <a:t>JavaScript</a:t>
            </a:r>
          </a:p>
        </p:txBody>
      </p:sp>
      <p:cxnSp>
        <p:nvCxnSpPr>
          <p:cNvPr id="11" name="Conector recto de flecha 10">
            <a:extLst>
              <a:ext uri="{FF2B5EF4-FFF2-40B4-BE49-F238E27FC236}">
                <a16:creationId xmlns:a16="http://schemas.microsoft.com/office/drawing/2014/main" id="{4DDCD05B-277B-A844-B019-2FA1081FC007}"/>
              </a:ext>
            </a:extLst>
          </p:cNvPr>
          <p:cNvCxnSpPr/>
          <p:nvPr/>
        </p:nvCxnSpPr>
        <p:spPr>
          <a:xfrm>
            <a:off x="3547872" y="5332378"/>
            <a:ext cx="226771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1" name="Conector recto de flecha 30">
            <a:extLst>
              <a:ext uri="{FF2B5EF4-FFF2-40B4-BE49-F238E27FC236}">
                <a16:creationId xmlns:a16="http://schemas.microsoft.com/office/drawing/2014/main" id="{4BD8D0DE-8082-BD42-84C4-07940BFA3764}"/>
              </a:ext>
            </a:extLst>
          </p:cNvPr>
          <p:cNvCxnSpPr/>
          <p:nvPr/>
        </p:nvCxnSpPr>
        <p:spPr>
          <a:xfrm>
            <a:off x="3547872" y="6069994"/>
            <a:ext cx="2267712" cy="0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" name="Rectángulo 8">
            <a:extLst>
              <a:ext uri="{FF2B5EF4-FFF2-40B4-BE49-F238E27FC236}">
                <a16:creationId xmlns:a16="http://schemas.microsoft.com/office/drawing/2014/main" id="{F5F7EB6F-3F28-104D-95A6-0B84B8CDE9EE}"/>
              </a:ext>
            </a:extLst>
          </p:cNvPr>
          <p:cNvSpPr/>
          <p:nvPr/>
        </p:nvSpPr>
        <p:spPr>
          <a:xfrm>
            <a:off x="3913632" y="5423818"/>
            <a:ext cx="1408176" cy="548640"/>
          </a:xfrm>
          <a:prstGeom prst="rect">
            <a:avLst/>
          </a:prstGeom>
          <a:ln>
            <a:prstDash val="dashDot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i="1" dirty="0">
                <a:latin typeface="Century Gothic" panose="020B0502020202020204" pitchFamily="34" charset="0"/>
              </a:rPr>
              <a:t>OS operation</a:t>
            </a: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5EC03805-53E1-5F49-BF47-1F8CF92B9B89}"/>
              </a:ext>
            </a:extLst>
          </p:cNvPr>
          <p:cNvSpPr/>
          <p:nvPr/>
        </p:nvSpPr>
        <p:spPr>
          <a:xfrm>
            <a:off x="6288276" y="4932689"/>
            <a:ext cx="1012510" cy="394675"/>
          </a:xfrm>
          <a:prstGeom prst="rect">
            <a:avLst/>
          </a:prstGeom>
          <a:ln>
            <a:prstDash val="dashDot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i="1" dirty="0">
              <a:latin typeface="Century Gothic" panose="020B0502020202020204" pitchFamily="34" charset="0"/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AE49EF37-B914-B748-B87F-18C5F0FD1B59}"/>
              </a:ext>
            </a:extLst>
          </p:cNvPr>
          <p:cNvSpPr/>
          <p:nvPr/>
        </p:nvSpPr>
        <p:spPr>
          <a:xfrm>
            <a:off x="6288276" y="5386268"/>
            <a:ext cx="1012510" cy="394675"/>
          </a:xfrm>
          <a:prstGeom prst="rect">
            <a:avLst/>
          </a:prstGeom>
          <a:ln>
            <a:prstDash val="dashDot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i="1" dirty="0">
              <a:latin typeface="Century Gothic" panose="020B0502020202020204" pitchFamily="34" charset="0"/>
            </a:endParaRP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1F89FEEC-32E7-1742-99EA-A2EA9C047D24}"/>
              </a:ext>
            </a:extLst>
          </p:cNvPr>
          <p:cNvSpPr/>
          <p:nvPr/>
        </p:nvSpPr>
        <p:spPr>
          <a:xfrm>
            <a:off x="6279958" y="5841432"/>
            <a:ext cx="1012510" cy="394675"/>
          </a:xfrm>
          <a:prstGeom prst="rect">
            <a:avLst/>
          </a:prstGeom>
          <a:ln>
            <a:prstDash val="dashDot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i="1" dirty="0">
              <a:latin typeface="Century Gothic" panose="020B0502020202020204" pitchFamily="34" charset="0"/>
            </a:endParaRP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3D4D8B45-982D-A44F-B651-3959947C55D0}"/>
              </a:ext>
            </a:extLst>
          </p:cNvPr>
          <p:cNvSpPr/>
          <p:nvPr/>
        </p:nvSpPr>
        <p:spPr>
          <a:xfrm>
            <a:off x="6289924" y="4477525"/>
            <a:ext cx="1012510" cy="394675"/>
          </a:xfrm>
          <a:prstGeom prst="rect">
            <a:avLst/>
          </a:prstGeom>
          <a:ln>
            <a:prstDash val="dashDot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i="1" dirty="0">
              <a:latin typeface="Century Gothic" panose="020B0502020202020204" pitchFamily="34" charset="0"/>
            </a:endParaRP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CCBBBC52-0BBF-E645-AF8D-170EB1966A13}"/>
              </a:ext>
            </a:extLst>
          </p:cNvPr>
          <p:cNvSpPr txBox="1"/>
          <p:nvPr/>
        </p:nvSpPr>
        <p:spPr>
          <a:xfrm>
            <a:off x="6250463" y="3897687"/>
            <a:ext cx="1088136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i="1" dirty="0">
                <a:latin typeface="Century Gothic" panose="020B0502020202020204" pitchFamily="34" charset="0"/>
              </a:rPr>
              <a:t>Event queue</a:t>
            </a:r>
          </a:p>
        </p:txBody>
      </p:sp>
      <p:sp>
        <p:nvSpPr>
          <p:cNvPr id="42" name="Rectángulo 41">
            <a:extLst>
              <a:ext uri="{FF2B5EF4-FFF2-40B4-BE49-F238E27FC236}">
                <a16:creationId xmlns:a16="http://schemas.microsoft.com/office/drawing/2014/main" id="{8FA7E5C2-1D7D-CB45-9BCD-617BB33CC299}"/>
              </a:ext>
            </a:extLst>
          </p:cNvPr>
          <p:cNvSpPr/>
          <p:nvPr/>
        </p:nvSpPr>
        <p:spPr>
          <a:xfrm>
            <a:off x="9703396" y="4936348"/>
            <a:ext cx="1012510" cy="394675"/>
          </a:xfrm>
          <a:prstGeom prst="rect">
            <a:avLst/>
          </a:prstGeom>
          <a:ln>
            <a:prstDash val="dashDot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i="1" dirty="0">
                <a:latin typeface="Century Gothic" panose="020B0502020202020204" pitchFamily="34" charset="0"/>
              </a:rPr>
              <a:t>Network</a:t>
            </a:r>
          </a:p>
        </p:txBody>
      </p:sp>
      <p:sp>
        <p:nvSpPr>
          <p:cNvPr id="47" name="Rectángulo 46">
            <a:extLst>
              <a:ext uri="{FF2B5EF4-FFF2-40B4-BE49-F238E27FC236}">
                <a16:creationId xmlns:a16="http://schemas.microsoft.com/office/drawing/2014/main" id="{9C070362-2344-254D-A49E-613617A31BAF}"/>
              </a:ext>
            </a:extLst>
          </p:cNvPr>
          <p:cNvSpPr/>
          <p:nvPr/>
        </p:nvSpPr>
        <p:spPr>
          <a:xfrm>
            <a:off x="9703396" y="5389927"/>
            <a:ext cx="1012510" cy="394675"/>
          </a:xfrm>
          <a:prstGeom prst="rect">
            <a:avLst/>
          </a:prstGeom>
          <a:ln>
            <a:prstDash val="dashDot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i="1" dirty="0">
                <a:latin typeface="Century Gothic" panose="020B0502020202020204" pitchFamily="34" charset="0"/>
              </a:rPr>
              <a:t>Process</a:t>
            </a:r>
          </a:p>
        </p:txBody>
      </p:sp>
      <p:sp>
        <p:nvSpPr>
          <p:cNvPr id="49" name="Rectángulo 48">
            <a:extLst>
              <a:ext uri="{FF2B5EF4-FFF2-40B4-BE49-F238E27FC236}">
                <a16:creationId xmlns:a16="http://schemas.microsoft.com/office/drawing/2014/main" id="{5DAB998E-3DC1-DE44-8B27-93EBA6CDEA72}"/>
              </a:ext>
            </a:extLst>
          </p:cNvPr>
          <p:cNvSpPr/>
          <p:nvPr/>
        </p:nvSpPr>
        <p:spPr>
          <a:xfrm>
            <a:off x="9695078" y="5845091"/>
            <a:ext cx="1012510" cy="394675"/>
          </a:xfrm>
          <a:prstGeom prst="rect">
            <a:avLst/>
          </a:prstGeom>
          <a:ln>
            <a:prstDash val="dashDot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i="1" dirty="0">
                <a:latin typeface="Century Gothic" panose="020B0502020202020204" pitchFamily="34" charset="0"/>
              </a:rPr>
              <a:t>…</a:t>
            </a:r>
          </a:p>
        </p:txBody>
      </p:sp>
      <p:sp>
        <p:nvSpPr>
          <p:cNvPr id="50" name="Rectángulo 49">
            <a:extLst>
              <a:ext uri="{FF2B5EF4-FFF2-40B4-BE49-F238E27FC236}">
                <a16:creationId xmlns:a16="http://schemas.microsoft.com/office/drawing/2014/main" id="{3167BFFA-35A3-C043-B503-D2C2F9A30D53}"/>
              </a:ext>
            </a:extLst>
          </p:cNvPr>
          <p:cNvSpPr/>
          <p:nvPr/>
        </p:nvSpPr>
        <p:spPr>
          <a:xfrm>
            <a:off x="9705044" y="4481184"/>
            <a:ext cx="1012510" cy="394675"/>
          </a:xfrm>
          <a:prstGeom prst="rect">
            <a:avLst/>
          </a:prstGeom>
          <a:ln>
            <a:prstDash val="dashDot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i="1" dirty="0">
                <a:latin typeface="Century Gothic" panose="020B0502020202020204" pitchFamily="34" charset="0"/>
              </a:rPr>
              <a:t>File system</a:t>
            </a:r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id="{8BD35F49-4F89-4A41-A9AA-3B837DC06B54}"/>
              </a:ext>
            </a:extLst>
          </p:cNvPr>
          <p:cNvSpPr txBox="1"/>
          <p:nvPr/>
        </p:nvSpPr>
        <p:spPr>
          <a:xfrm>
            <a:off x="9665583" y="4119633"/>
            <a:ext cx="1088136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i="1" dirty="0">
                <a:latin typeface="Century Gothic" panose="020B0502020202020204" pitchFamily="34" charset="0"/>
              </a:rPr>
              <a:t>Threads</a:t>
            </a:r>
          </a:p>
        </p:txBody>
      </p:sp>
      <p:sp>
        <p:nvSpPr>
          <p:cNvPr id="55" name="Arco 54">
            <a:extLst>
              <a:ext uri="{FF2B5EF4-FFF2-40B4-BE49-F238E27FC236}">
                <a16:creationId xmlns:a16="http://schemas.microsoft.com/office/drawing/2014/main" id="{2D8CDD15-E4C9-CC46-86D4-DEA48FD5BDCB}"/>
              </a:ext>
            </a:extLst>
          </p:cNvPr>
          <p:cNvSpPr>
            <a:spLocks noChangeAspect="1"/>
          </p:cNvSpPr>
          <p:nvPr/>
        </p:nvSpPr>
        <p:spPr>
          <a:xfrm rot="14416669">
            <a:off x="7822068" y="4617394"/>
            <a:ext cx="1220269" cy="1220374"/>
          </a:xfrm>
          <a:prstGeom prst="arc">
            <a:avLst>
              <a:gd name="adj1" fmla="val 14377779"/>
              <a:gd name="adj2" fmla="val 20949954"/>
            </a:avLst>
          </a:prstGeom>
          <a:ln>
            <a:headEnd type="none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2" name="Arco 51">
            <a:extLst>
              <a:ext uri="{FF2B5EF4-FFF2-40B4-BE49-F238E27FC236}">
                <a16:creationId xmlns:a16="http://schemas.microsoft.com/office/drawing/2014/main" id="{29ADF3FA-0CA3-9A42-86FF-352C97684F5E}"/>
              </a:ext>
            </a:extLst>
          </p:cNvPr>
          <p:cNvSpPr>
            <a:spLocks noChangeAspect="1"/>
          </p:cNvSpPr>
          <p:nvPr/>
        </p:nvSpPr>
        <p:spPr>
          <a:xfrm>
            <a:off x="7810818" y="4618029"/>
            <a:ext cx="1220269" cy="1220374"/>
          </a:xfrm>
          <a:prstGeom prst="arc">
            <a:avLst>
              <a:gd name="adj1" fmla="val 14377779"/>
              <a:gd name="adj2" fmla="val 20949954"/>
            </a:avLst>
          </a:prstGeom>
          <a:ln>
            <a:headEnd type="none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4" name="Arco 53">
            <a:extLst>
              <a:ext uri="{FF2B5EF4-FFF2-40B4-BE49-F238E27FC236}">
                <a16:creationId xmlns:a16="http://schemas.microsoft.com/office/drawing/2014/main" id="{B446591F-F975-534B-9F21-1DE44339F42F}"/>
              </a:ext>
            </a:extLst>
          </p:cNvPr>
          <p:cNvSpPr>
            <a:spLocks noChangeAspect="1"/>
          </p:cNvSpPr>
          <p:nvPr/>
        </p:nvSpPr>
        <p:spPr>
          <a:xfrm rot="7303284">
            <a:off x="7816109" y="4618029"/>
            <a:ext cx="1220269" cy="1220374"/>
          </a:xfrm>
          <a:prstGeom prst="arc">
            <a:avLst>
              <a:gd name="adj1" fmla="val 14377779"/>
              <a:gd name="adj2" fmla="val 20949954"/>
            </a:avLst>
          </a:prstGeom>
          <a:ln>
            <a:headEnd type="none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56" name="Conector recto de flecha 55">
            <a:extLst>
              <a:ext uri="{FF2B5EF4-FFF2-40B4-BE49-F238E27FC236}">
                <a16:creationId xmlns:a16="http://schemas.microsoft.com/office/drawing/2014/main" id="{AB49259F-7410-BD4B-892D-1C6572630BBD}"/>
              </a:ext>
            </a:extLst>
          </p:cNvPr>
          <p:cNvCxnSpPr>
            <a:cxnSpLocks/>
          </p:cNvCxnSpPr>
          <p:nvPr/>
        </p:nvCxnSpPr>
        <p:spPr>
          <a:xfrm>
            <a:off x="8896568" y="4689250"/>
            <a:ext cx="76901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7" name="Conector recto de flecha 56">
            <a:extLst>
              <a:ext uri="{FF2B5EF4-FFF2-40B4-BE49-F238E27FC236}">
                <a16:creationId xmlns:a16="http://schemas.microsoft.com/office/drawing/2014/main" id="{566191A7-AA81-4444-802F-A2CA6DBF1587}"/>
              </a:ext>
            </a:extLst>
          </p:cNvPr>
          <p:cNvCxnSpPr>
            <a:cxnSpLocks/>
          </p:cNvCxnSpPr>
          <p:nvPr/>
        </p:nvCxnSpPr>
        <p:spPr>
          <a:xfrm>
            <a:off x="8837975" y="5780943"/>
            <a:ext cx="769015" cy="0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8" name="Conector recto de flecha 57">
            <a:extLst>
              <a:ext uri="{FF2B5EF4-FFF2-40B4-BE49-F238E27FC236}">
                <a16:creationId xmlns:a16="http://schemas.microsoft.com/office/drawing/2014/main" id="{24A391CA-37BC-6A41-8C84-480C8074E89D}"/>
              </a:ext>
            </a:extLst>
          </p:cNvPr>
          <p:cNvCxnSpPr>
            <a:cxnSpLocks/>
          </p:cNvCxnSpPr>
          <p:nvPr/>
        </p:nvCxnSpPr>
        <p:spPr>
          <a:xfrm>
            <a:off x="7426310" y="4689250"/>
            <a:ext cx="538114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9" name="Conector recto de flecha 58">
            <a:extLst>
              <a:ext uri="{FF2B5EF4-FFF2-40B4-BE49-F238E27FC236}">
                <a16:creationId xmlns:a16="http://schemas.microsoft.com/office/drawing/2014/main" id="{060B1C8C-351C-8C41-BA9A-4FD25CAE66D8}"/>
              </a:ext>
            </a:extLst>
          </p:cNvPr>
          <p:cNvCxnSpPr>
            <a:cxnSpLocks/>
          </p:cNvCxnSpPr>
          <p:nvPr/>
        </p:nvCxnSpPr>
        <p:spPr>
          <a:xfrm>
            <a:off x="7426310" y="5838403"/>
            <a:ext cx="538114" cy="0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31306" name="Picture 586" descr="The Node Way- Philosophy of a Platform | by Aman Mittal | Medium">
            <a:extLst>
              <a:ext uri="{FF2B5EF4-FFF2-40B4-BE49-F238E27FC236}">
                <a16:creationId xmlns:a16="http://schemas.microsoft.com/office/drawing/2014/main" id="{A1674B10-762D-314A-937E-45304AF4C1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2750" b="98000" l="4750" r="92750">
                        <a14:foregroundMark x1="6125" y1="46500" x2="10000" y2="54250"/>
                        <a14:foregroundMark x1="81500" y1="43750" x2="83250" y2="54250"/>
                        <a14:foregroundMark x1="88500" y1="66500" x2="88500" y2="66500"/>
                        <a14:foregroundMark x1="88500" y1="63000" x2="88500" y2="70750"/>
                        <a14:foregroundMark x1="89250" y1="67500" x2="90250" y2="72500"/>
                        <a14:foregroundMark x1="90250" y1="71750" x2="90250" y2="64750"/>
                        <a14:foregroundMark x1="90250" y1="64000" x2="92750" y2="70750"/>
                        <a14:foregroundMark x1="49250" y1="6250" x2="49250" y2="6250"/>
                        <a14:foregroundMark x1="46500" y1="2750" x2="46500" y2="2750"/>
                        <a14:foregroundMark x1="47500" y1="94500" x2="47500" y2="94500"/>
                        <a14:foregroundMark x1="48250" y1="98000" x2="48250" y2="98000"/>
                        <a14:foregroundMark x1="43000" y1="9000" x2="56250" y2="21250"/>
                        <a14:backgroundMark x1="2000" y1="45500" x2="2000" y2="45500"/>
                        <a14:backgroundMark x1="2000" y1="46500" x2="2000" y2="46500"/>
                        <a14:backgroundMark x1="2000" y1="46500" x2="2000" y2="46500"/>
                        <a14:backgroundMark x1="2000" y1="46500" x2="2000" y2="46500"/>
                        <a14:backgroundMark x1="2000" y1="46500" x2="2000" y2="46500"/>
                        <a14:backgroundMark x1="3000" y1="44750" x2="3000" y2="44750"/>
                        <a14:backgroundMark x1="2000" y1="43000" x2="3000" y2="4725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4007" y="3634542"/>
            <a:ext cx="553006" cy="553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Rectangle 23">
            <a:extLst>
              <a:ext uri="{FF2B5EF4-FFF2-40B4-BE49-F238E27FC236}">
                <a16:creationId xmlns:a16="http://schemas.microsoft.com/office/drawing/2014/main" id="{28A4D32A-775C-7348-99F0-6DD8FD52927C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Architecture</a:t>
            </a:r>
            <a:endParaRPr lang="es-ES" i="1" dirty="0"/>
          </a:p>
        </p:txBody>
      </p:sp>
    </p:spTree>
    <p:extLst>
      <p:ext uri="{BB962C8B-B14F-4D97-AF65-F5344CB8AC3E}">
        <p14:creationId xmlns:p14="http://schemas.microsoft.com/office/powerpoint/2010/main" val="3729104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586" descr="The Node Way- Philosophy of a Platform | by Aman Mittal | Medium">
            <a:extLst>
              <a:ext uri="{FF2B5EF4-FFF2-40B4-BE49-F238E27FC236}">
                <a16:creationId xmlns:a16="http://schemas.microsoft.com/office/drawing/2014/main" id="{1F863DB8-0CD3-6248-8127-179AD89D75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750" b="98000" l="4750" r="92750">
                        <a14:foregroundMark x1="6125" y1="46500" x2="10000" y2="54250"/>
                        <a14:foregroundMark x1="81500" y1="43750" x2="83250" y2="54250"/>
                        <a14:foregroundMark x1="88500" y1="66500" x2="88500" y2="66500"/>
                        <a14:foregroundMark x1="88500" y1="63000" x2="88500" y2="70750"/>
                        <a14:foregroundMark x1="89250" y1="67500" x2="90250" y2="72500"/>
                        <a14:foregroundMark x1="90250" y1="71750" x2="90250" y2="64750"/>
                        <a14:foregroundMark x1="90250" y1="64000" x2="92750" y2="70750"/>
                        <a14:foregroundMark x1="49250" y1="6250" x2="49250" y2="6250"/>
                        <a14:foregroundMark x1="46500" y1="2750" x2="46500" y2="2750"/>
                        <a14:foregroundMark x1="47500" y1="94500" x2="47500" y2="94500"/>
                        <a14:foregroundMark x1="48250" y1="98000" x2="48250" y2="98000"/>
                        <a14:foregroundMark x1="43000" y1="9000" x2="56250" y2="21250"/>
                        <a14:backgroundMark x1="2000" y1="45500" x2="2000" y2="45500"/>
                        <a14:backgroundMark x1="2000" y1="46500" x2="2000" y2="46500"/>
                        <a14:backgroundMark x1="2000" y1="46500" x2="2000" y2="46500"/>
                        <a14:backgroundMark x1="2000" y1="46500" x2="2000" y2="46500"/>
                        <a14:backgroundMark x1="2000" y1="46500" x2="2000" y2="46500"/>
                        <a14:backgroundMark x1="3000" y1="44750" x2="3000" y2="44750"/>
                        <a14:backgroundMark x1="2000" y1="43000" x2="3000" y2="4725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7999" y="1102718"/>
            <a:ext cx="1268183" cy="1268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9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10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 dirty="0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Node.js</a:t>
            </a:r>
            <a:endParaRPr lang="es-ES" dirty="0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3"/>
            <a:ext cx="11610439" cy="329357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400" b="1" dirty="0">
                <a:latin typeface="Century Gothic"/>
              </a:rPr>
              <a:t>Node.js API</a:t>
            </a:r>
          </a:p>
          <a:p>
            <a:pPr>
              <a:spcBef>
                <a:spcPct val="20000"/>
              </a:spcBef>
            </a:pPr>
            <a:r>
              <a:rPr lang="en-US" b="1" dirty="0">
                <a:latin typeface="Century Gothic"/>
              </a:rPr>
              <a:t>Node.js</a:t>
            </a:r>
            <a:r>
              <a:rPr lang="en-US" dirty="0">
                <a:latin typeface="Century Gothic"/>
              </a:rPr>
              <a:t> exposes a rich API toolkit with the following relevant modules:</a:t>
            </a: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000" b="1" dirty="0">
                <a:latin typeface="Century Gothic"/>
              </a:rPr>
              <a:t>Is it used?</a:t>
            </a:r>
            <a:r>
              <a:rPr lang="en-US" sz="2000" dirty="0">
                <a:latin typeface="Century Gothic"/>
              </a:rPr>
              <a:t> (03/2018 – 08/2020)</a:t>
            </a:r>
          </a:p>
        </p:txBody>
      </p:sp>
      <p:sp>
        <p:nvSpPr>
          <p:cNvPr id="51" name="Rectangle 23">
            <a:extLst>
              <a:ext uri="{FF2B5EF4-FFF2-40B4-BE49-F238E27FC236}">
                <a16:creationId xmlns:a16="http://schemas.microsoft.com/office/drawing/2014/main" id="{D17781F2-1020-4343-B88F-03234841DEB0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API</a:t>
            </a:r>
            <a:endParaRPr lang="es-ES" i="1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C43C4D99-A867-FB46-B571-0317E401E8B4}"/>
              </a:ext>
            </a:extLst>
          </p:cNvPr>
          <p:cNvSpPr txBox="1"/>
          <p:nvPr/>
        </p:nvSpPr>
        <p:spPr>
          <a:xfrm>
            <a:off x="348343" y="2240117"/>
            <a:ext cx="2799761" cy="1698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dirty="0">
                <a:latin typeface="Century Gothic"/>
              </a:rPr>
              <a:t>Buffers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dirty="0">
                <a:latin typeface="Century Gothic"/>
              </a:rPr>
              <a:t>C++ addons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dirty="0">
                <a:latin typeface="Century Gothic"/>
              </a:rPr>
              <a:t>Child processes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dirty="0">
                <a:latin typeface="Century Gothic"/>
              </a:rPr>
              <a:t>Cluster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dirty="0">
                <a:latin typeface="Century Gothic"/>
              </a:rPr>
              <a:t>CLI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0B32EFFD-BD57-D240-966D-C8B4B3248A58}"/>
              </a:ext>
            </a:extLst>
          </p:cNvPr>
          <p:cNvSpPr txBox="1"/>
          <p:nvPr/>
        </p:nvSpPr>
        <p:spPr>
          <a:xfrm>
            <a:off x="3545601" y="2240116"/>
            <a:ext cx="3194116" cy="1698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dirty="0">
                <a:latin typeface="Century Gothic"/>
              </a:rPr>
              <a:t>Crypto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dirty="0">
                <a:latin typeface="Century Gothic"/>
              </a:rPr>
              <a:t>DNS, net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dirty="0">
                <a:latin typeface="Century Gothic"/>
              </a:rPr>
              <a:t>Events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dirty="0">
                <a:latin typeface="Century Gothic"/>
              </a:rPr>
              <a:t>File system, path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dirty="0">
                <a:latin typeface="Century Gothic"/>
              </a:rPr>
              <a:t>HTTP, HTTPS, HTTP/2, </a:t>
            </a:r>
            <a:r>
              <a:rPr lang="en-US" dirty="0" err="1">
                <a:latin typeface="Century Gothic"/>
              </a:rPr>
              <a:t>url</a:t>
            </a:r>
            <a:endParaRPr lang="en-US" dirty="0">
              <a:latin typeface="Century Gothic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EECD0460-472F-7640-BAF2-814C557A9F87}"/>
              </a:ext>
            </a:extLst>
          </p:cNvPr>
          <p:cNvSpPr txBox="1"/>
          <p:nvPr/>
        </p:nvSpPr>
        <p:spPr>
          <a:xfrm>
            <a:off x="7137214" y="2240116"/>
            <a:ext cx="3194116" cy="1034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dirty="0">
                <a:latin typeface="Century Gothic"/>
              </a:rPr>
              <a:t>OS, process, timers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dirty="0">
                <a:latin typeface="Century Gothic"/>
              </a:rPr>
              <a:t>Profiling</a:t>
            </a:r>
          </a:p>
          <a:p>
            <a:pPr marL="342900" indent="-342900">
              <a:spcBef>
                <a:spcPct val="20000"/>
              </a:spcBef>
              <a:buFontTx/>
              <a:buChar char="-"/>
            </a:pPr>
            <a:r>
              <a:rPr lang="en-US" dirty="0">
                <a:latin typeface="Century Gothic"/>
              </a:rPr>
              <a:t>Stream</a:t>
            </a:r>
          </a:p>
        </p:txBody>
      </p:sp>
      <p:grpSp>
        <p:nvGrpSpPr>
          <p:cNvPr id="8" name="Grupo 7">
            <a:extLst>
              <a:ext uri="{FF2B5EF4-FFF2-40B4-BE49-F238E27FC236}">
                <a16:creationId xmlns:a16="http://schemas.microsoft.com/office/drawing/2014/main" id="{BD2B585A-FA83-A347-A65C-38C44FE2F6FF}"/>
              </a:ext>
            </a:extLst>
          </p:cNvPr>
          <p:cNvGrpSpPr/>
          <p:nvPr/>
        </p:nvGrpSpPr>
        <p:grpSpPr>
          <a:xfrm>
            <a:off x="957337" y="4502568"/>
            <a:ext cx="10295240" cy="2244974"/>
            <a:chOff x="568777" y="4454323"/>
            <a:chExt cx="10295240" cy="2244974"/>
          </a:xfrm>
        </p:grpSpPr>
        <p:pic>
          <p:nvPicPr>
            <p:cNvPr id="4" name="Imagen 3">
              <a:extLst>
                <a:ext uri="{FF2B5EF4-FFF2-40B4-BE49-F238E27FC236}">
                  <a16:creationId xmlns:a16="http://schemas.microsoft.com/office/drawing/2014/main" id="{E2F67F3D-7AF4-FF42-87A5-A1413D325EA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8777" y="4454323"/>
              <a:ext cx="9307285" cy="2244974"/>
            </a:xfrm>
            <a:prstGeom prst="rect">
              <a:avLst/>
            </a:prstGeom>
          </p:spPr>
        </p:pic>
        <p:pic>
          <p:nvPicPr>
            <p:cNvPr id="7" name="Imagen 6">
              <a:extLst>
                <a:ext uri="{FF2B5EF4-FFF2-40B4-BE49-F238E27FC236}">
                  <a16:creationId xmlns:a16="http://schemas.microsoft.com/office/drawing/2014/main" id="{E9E6EC90-2425-7C43-932E-0D60785A374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19160" y="4454323"/>
              <a:ext cx="2544857" cy="4149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6490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586" descr="The Node Way- Philosophy of a Platform | by Aman Mittal | Medium">
            <a:extLst>
              <a:ext uri="{FF2B5EF4-FFF2-40B4-BE49-F238E27FC236}">
                <a16:creationId xmlns:a16="http://schemas.microsoft.com/office/drawing/2014/main" id="{1F863DB8-0CD3-6248-8127-179AD89D75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750" b="98000" l="4750" r="92750">
                        <a14:foregroundMark x1="6125" y1="46500" x2="10000" y2="54250"/>
                        <a14:foregroundMark x1="81500" y1="43750" x2="83250" y2="54250"/>
                        <a14:foregroundMark x1="88500" y1="66500" x2="88500" y2="66500"/>
                        <a14:foregroundMark x1="88500" y1="63000" x2="88500" y2="70750"/>
                        <a14:foregroundMark x1="89250" y1="67500" x2="90250" y2="72500"/>
                        <a14:foregroundMark x1="90250" y1="71750" x2="90250" y2="64750"/>
                        <a14:foregroundMark x1="90250" y1="64000" x2="92750" y2="70750"/>
                        <a14:foregroundMark x1="49250" y1="6250" x2="49250" y2="6250"/>
                        <a14:foregroundMark x1="46500" y1="2750" x2="46500" y2="2750"/>
                        <a14:foregroundMark x1="47500" y1="94500" x2="47500" y2="94500"/>
                        <a14:foregroundMark x1="48250" y1="98000" x2="48250" y2="98000"/>
                        <a14:foregroundMark x1="43000" y1="9000" x2="56250" y2="21250"/>
                        <a14:backgroundMark x1="2000" y1="45500" x2="2000" y2="45500"/>
                        <a14:backgroundMark x1="2000" y1="46500" x2="2000" y2="46500"/>
                        <a14:backgroundMark x1="2000" y1="46500" x2="2000" y2="46500"/>
                        <a14:backgroundMark x1="2000" y1="46500" x2="2000" y2="46500"/>
                        <a14:backgroundMark x1="2000" y1="46500" x2="2000" y2="46500"/>
                        <a14:backgroundMark x1="3000" y1="44750" x2="3000" y2="44750"/>
                        <a14:backgroundMark x1="2000" y1="43000" x2="3000" y2="4725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7999" y="1102718"/>
            <a:ext cx="1268183" cy="1268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10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 dirty="0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Node.js</a:t>
            </a:r>
            <a:endParaRPr lang="es-ES" dirty="0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23">
            <a:extLst>
              <a:ext uri="{FF2B5EF4-FFF2-40B4-BE49-F238E27FC236}">
                <a16:creationId xmlns:a16="http://schemas.microsoft.com/office/drawing/2014/main" id="{D17781F2-1020-4343-B88F-03234841DEB0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Installing libraries</a:t>
            </a:r>
            <a:endParaRPr lang="es-ES" i="1" dirty="0"/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67547B7E-622B-E34B-9CCA-0F2801E97628}"/>
              </a:ext>
            </a:extLst>
          </p:cNvPr>
          <p:cNvSpPr/>
          <p:nvPr/>
        </p:nvSpPr>
        <p:spPr>
          <a:xfrm>
            <a:off x="348344" y="1193524"/>
            <a:ext cx="11625942" cy="505909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400" b="1" dirty="0">
                <a:latin typeface="Century Gothic"/>
              </a:rPr>
              <a:t>Installing libraries</a:t>
            </a:r>
          </a:p>
          <a:p>
            <a:pPr>
              <a:spcBef>
                <a:spcPct val="20000"/>
              </a:spcBef>
            </a:pPr>
            <a:r>
              <a:rPr lang="en-US" b="1" dirty="0">
                <a:latin typeface="Century Gothic"/>
              </a:rPr>
              <a:t>Node.js</a:t>
            </a:r>
            <a:r>
              <a:rPr lang="en-US" dirty="0">
                <a:latin typeface="Century Gothic"/>
              </a:rPr>
              <a:t> features a </a:t>
            </a:r>
            <a:r>
              <a:rPr lang="en-US" b="1" dirty="0">
                <a:latin typeface="Century Gothic"/>
              </a:rPr>
              <a:t>package manager</a:t>
            </a:r>
            <a:r>
              <a:rPr lang="en-US" dirty="0">
                <a:latin typeface="Century Gothic"/>
              </a:rPr>
              <a:t> known as </a:t>
            </a:r>
            <a:r>
              <a:rPr lang="en-US" i="1" dirty="0" err="1">
                <a:latin typeface="Century Gothic"/>
              </a:rPr>
              <a:t>npm</a:t>
            </a:r>
            <a:r>
              <a:rPr lang="en-US" dirty="0">
                <a:latin typeface="Century Gothic"/>
              </a:rPr>
              <a:t> (</a:t>
            </a:r>
            <a:r>
              <a:rPr lang="en-US" i="1" dirty="0">
                <a:latin typeface="Century Gothic"/>
              </a:rPr>
              <a:t>node package manager</a:t>
            </a:r>
            <a:r>
              <a:rPr lang="en-US" dirty="0">
                <a:latin typeface="Century Gothic"/>
              </a:rPr>
              <a:t>) </a:t>
            </a:r>
          </a:p>
          <a:p>
            <a:pPr>
              <a:spcBef>
                <a:spcPct val="20000"/>
              </a:spcBef>
            </a:pPr>
            <a:r>
              <a:rPr lang="en-US" b="1" dirty="0">
                <a:latin typeface="Century Gothic"/>
              </a:rPr>
              <a:t>out of the box</a:t>
            </a:r>
            <a:r>
              <a:rPr lang="en-US" dirty="0">
                <a:latin typeface="Century Gothic"/>
              </a:rPr>
              <a:t>. </a:t>
            </a:r>
            <a:r>
              <a:rPr lang="en-US" i="1" dirty="0" err="1">
                <a:latin typeface="Century Gothic"/>
              </a:rPr>
              <a:t>npm</a:t>
            </a:r>
            <a:r>
              <a:rPr lang="en-US" i="1" dirty="0">
                <a:latin typeface="Century Gothic"/>
              </a:rPr>
              <a:t> </a:t>
            </a:r>
            <a:r>
              <a:rPr lang="en-US" dirty="0">
                <a:latin typeface="Century Gothic"/>
              </a:rPr>
              <a:t>uses a file known as </a:t>
            </a:r>
            <a:r>
              <a:rPr lang="en-US" b="1" i="1" dirty="0" err="1">
                <a:latin typeface="Century Gothic"/>
              </a:rPr>
              <a:t>package.json</a:t>
            </a:r>
            <a:r>
              <a:rPr lang="en-US" b="1" dirty="0">
                <a:latin typeface="Century Gothic"/>
              </a:rPr>
              <a:t> </a:t>
            </a:r>
            <a:r>
              <a:rPr lang="en-US" dirty="0">
                <a:latin typeface="Century Gothic"/>
              </a:rPr>
              <a:t>as the project descriptor, </a:t>
            </a:r>
          </a:p>
          <a:p>
            <a:pPr>
              <a:spcBef>
                <a:spcPct val="20000"/>
              </a:spcBef>
            </a:pPr>
            <a:r>
              <a:rPr lang="en-US" dirty="0">
                <a:latin typeface="Century Gothic"/>
              </a:rPr>
              <a:t>storing the </a:t>
            </a:r>
            <a:r>
              <a:rPr lang="en-US" i="1" dirty="0">
                <a:latin typeface="Century Gothic"/>
              </a:rPr>
              <a:t>project name</a:t>
            </a:r>
            <a:r>
              <a:rPr lang="en-US" dirty="0">
                <a:latin typeface="Century Gothic"/>
              </a:rPr>
              <a:t>, </a:t>
            </a:r>
            <a:r>
              <a:rPr lang="en-US" i="1" dirty="0">
                <a:latin typeface="Century Gothic"/>
              </a:rPr>
              <a:t>version</a:t>
            </a:r>
            <a:r>
              <a:rPr lang="en-US" dirty="0">
                <a:latin typeface="Century Gothic"/>
              </a:rPr>
              <a:t>, </a:t>
            </a:r>
            <a:r>
              <a:rPr lang="en-US" i="1" dirty="0">
                <a:latin typeface="Century Gothic"/>
              </a:rPr>
              <a:t>dependencies</a:t>
            </a:r>
            <a:r>
              <a:rPr lang="en-US" dirty="0">
                <a:latin typeface="Century Gothic"/>
              </a:rPr>
              <a:t>, </a:t>
            </a:r>
            <a:r>
              <a:rPr lang="en-US" i="1" dirty="0">
                <a:latin typeface="Century Gothic"/>
              </a:rPr>
              <a:t>author details</a:t>
            </a:r>
            <a:r>
              <a:rPr lang="en-US" dirty="0">
                <a:latin typeface="Century Gothic"/>
              </a:rPr>
              <a:t>, </a:t>
            </a:r>
            <a:r>
              <a:rPr lang="en-US" i="1" dirty="0">
                <a:latin typeface="Century Gothic"/>
              </a:rPr>
              <a:t>requirements </a:t>
            </a:r>
            <a:r>
              <a:rPr lang="en-US" dirty="0">
                <a:latin typeface="Century Gothic"/>
              </a:rPr>
              <a:t>and available </a:t>
            </a:r>
            <a:r>
              <a:rPr lang="en-US" i="1" dirty="0">
                <a:latin typeface="Century Gothic"/>
              </a:rPr>
              <a:t>scripts/tasks</a:t>
            </a:r>
            <a:r>
              <a:rPr lang="en-US" dirty="0">
                <a:latin typeface="Century Gothic"/>
              </a:rPr>
              <a:t> among others on it.</a:t>
            </a: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dirty="0">
                <a:latin typeface="Century Gothic"/>
              </a:rPr>
              <a:t>A base </a:t>
            </a:r>
            <a:r>
              <a:rPr lang="en-US" i="1" dirty="0" err="1">
                <a:latin typeface="Century Gothic"/>
              </a:rPr>
              <a:t>package.json</a:t>
            </a:r>
            <a:r>
              <a:rPr lang="en-US" dirty="0">
                <a:latin typeface="Century Gothic"/>
              </a:rPr>
              <a:t> file can be generated using </a:t>
            </a:r>
            <a:r>
              <a:rPr lang="en-US" i="1" dirty="0" err="1">
                <a:latin typeface="Century Gothic"/>
              </a:rPr>
              <a:t>npm</a:t>
            </a:r>
            <a:r>
              <a:rPr lang="en-US" i="1" dirty="0">
                <a:latin typeface="Century Gothic"/>
              </a:rPr>
              <a:t> </a:t>
            </a:r>
            <a:r>
              <a:rPr lang="en-US" i="1" dirty="0" err="1">
                <a:latin typeface="Century Gothic"/>
              </a:rPr>
              <a:t>init</a:t>
            </a:r>
            <a:r>
              <a:rPr lang="en-US" dirty="0">
                <a:latin typeface="Century Gothic"/>
              </a:rPr>
              <a:t> on the project root folder.</a:t>
            </a:r>
          </a:p>
          <a:p>
            <a:pPr>
              <a:spcBef>
                <a:spcPct val="20000"/>
              </a:spcBef>
            </a:pPr>
            <a:r>
              <a:rPr lang="en-US" dirty="0">
                <a:latin typeface="Century Gothic"/>
              </a:rPr>
              <a:t>While </a:t>
            </a:r>
            <a:r>
              <a:rPr lang="en-US" i="1" dirty="0" err="1">
                <a:latin typeface="Century Gothic"/>
              </a:rPr>
              <a:t>npm</a:t>
            </a:r>
            <a:r>
              <a:rPr lang="en-US" dirty="0">
                <a:latin typeface="Century Gothic"/>
              </a:rPr>
              <a:t> works well, </a:t>
            </a:r>
            <a:r>
              <a:rPr lang="en-US" b="1" dirty="0">
                <a:latin typeface="Century Gothic"/>
              </a:rPr>
              <a:t>it is recommended to use </a:t>
            </a:r>
            <a:r>
              <a:rPr lang="en-US" b="1" i="1" dirty="0">
                <a:latin typeface="Century Gothic"/>
              </a:rPr>
              <a:t>yarn </a:t>
            </a:r>
            <a:r>
              <a:rPr lang="en-US" b="1" dirty="0">
                <a:latin typeface="Century Gothic"/>
              </a:rPr>
              <a:t>instead</a:t>
            </a:r>
            <a:r>
              <a:rPr lang="en-US" dirty="0">
                <a:latin typeface="Century Gothic"/>
              </a:rPr>
              <a:t>. </a:t>
            </a:r>
            <a:r>
              <a:rPr lang="en-US" i="1" dirty="0">
                <a:latin typeface="Century Gothic"/>
              </a:rPr>
              <a:t>yarn </a:t>
            </a:r>
            <a:r>
              <a:rPr lang="en-US" dirty="0">
                <a:latin typeface="Century Gothic"/>
              </a:rPr>
              <a:t>provides all </a:t>
            </a:r>
            <a:r>
              <a:rPr lang="en-US" i="1" dirty="0" err="1">
                <a:latin typeface="Century Gothic"/>
              </a:rPr>
              <a:t>npm</a:t>
            </a:r>
            <a:r>
              <a:rPr lang="en-US" i="1" dirty="0">
                <a:latin typeface="Century Gothic"/>
              </a:rPr>
              <a:t> </a:t>
            </a:r>
            <a:r>
              <a:rPr lang="en-US" dirty="0">
                <a:latin typeface="Century Gothic"/>
              </a:rPr>
              <a:t>features plus additional useful ones such as </a:t>
            </a:r>
            <a:r>
              <a:rPr lang="en-US" i="1" dirty="0">
                <a:latin typeface="Century Gothic"/>
              </a:rPr>
              <a:t>caching</a:t>
            </a:r>
            <a:r>
              <a:rPr lang="en-US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dirty="0">
                <a:latin typeface="Century Gothic"/>
              </a:rPr>
              <a:t>A </a:t>
            </a:r>
            <a:r>
              <a:rPr lang="en-US" b="1" i="1" dirty="0">
                <a:latin typeface="Century Gothic"/>
              </a:rPr>
              <a:t>lock</a:t>
            </a:r>
            <a:r>
              <a:rPr lang="en-US" b="1" dirty="0">
                <a:latin typeface="Century Gothic"/>
              </a:rPr>
              <a:t> file </a:t>
            </a:r>
            <a:r>
              <a:rPr lang="en-US" dirty="0">
                <a:latin typeface="Century Gothic"/>
              </a:rPr>
              <a:t>is generated every time dependencies are installed. The </a:t>
            </a:r>
            <a:r>
              <a:rPr lang="en-US" i="1" dirty="0">
                <a:latin typeface="Century Gothic"/>
              </a:rPr>
              <a:t>lock</a:t>
            </a:r>
            <a:r>
              <a:rPr lang="en-US" dirty="0">
                <a:latin typeface="Century Gothic"/>
              </a:rPr>
              <a:t> file </a:t>
            </a:r>
            <a:r>
              <a:rPr lang="en-US" b="1" dirty="0">
                <a:latin typeface="Century Gothic"/>
              </a:rPr>
              <a:t>determines the dependencies versions being used and locks them</a:t>
            </a:r>
            <a:r>
              <a:rPr lang="en-US" dirty="0">
                <a:latin typeface="Century Gothic"/>
              </a:rPr>
              <a:t>, ensuring consistent installs. It also stores a </a:t>
            </a:r>
            <a:r>
              <a:rPr lang="en-US" i="1" dirty="0">
                <a:latin typeface="Century Gothic"/>
              </a:rPr>
              <a:t>hash</a:t>
            </a:r>
            <a:r>
              <a:rPr lang="en-US" dirty="0">
                <a:latin typeface="Century Gothic"/>
              </a:rPr>
              <a:t> to avoid security issues such as a dependency being changed without our consent. </a:t>
            </a:r>
            <a:r>
              <a:rPr lang="en-US" b="1" i="1" dirty="0">
                <a:latin typeface="Century Gothic"/>
              </a:rPr>
              <a:t>Lock</a:t>
            </a:r>
            <a:r>
              <a:rPr lang="en-US" b="1" dirty="0">
                <a:latin typeface="Century Gothic"/>
              </a:rPr>
              <a:t> files should be checked into source control</a:t>
            </a:r>
            <a:r>
              <a:rPr lang="en-US" dirty="0">
                <a:latin typeface="Century Gothic"/>
              </a:rPr>
              <a:t> and kept up to date.</a:t>
            </a:r>
          </a:p>
        </p:txBody>
      </p:sp>
    </p:spTree>
    <p:extLst>
      <p:ext uri="{BB962C8B-B14F-4D97-AF65-F5344CB8AC3E}">
        <p14:creationId xmlns:p14="http://schemas.microsoft.com/office/powerpoint/2010/main" val="937109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586" descr="The Node Way- Philosophy of a Platform | by Aman Mittal | Medium">
            <a:extLst>
              <a:ext uri="{FF2B5EF4-FFF2-40B4-BE49-F238E27FC236}">
                <a16:creationId xmlns:a16="http://schemas.microsoft.com/office/drawing/2014/main" id="{1F863DB8-0CD3-6248-8127-179AD89D75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750" b="98000" l="4750" r="92750">
                        <a14:foregroundMark x1="6125" y1="46500" x2="10000" y2="54250"/>
                        <a14:foregroundMark x1="81500" y1="43750" x2="83250" y2="54250"/>
                        <a14:foregroundMark x1="88500" y1="66500" x2="88500" y2="66500"/>
                        <a14:foregroundMark x1="88500" y1="63000" x2="88500" y2="70750"/>
                        <a14:foregroundMark x1="89250" y1="67500" x2="90250" y2="72500"/>
                        <a14:foregroundMark x1="90250" y1="71750" x2="90250" y2="64750"/>
                        <a14:foregroundMark x1="90250" y1="64000" x2="92750" y2="70750"/>
                        <a14:foregroundMark x1="49250" y1="6250" x2="49250" y2="6250"/>
                        <a14:foregroundMark x1="46500" y1="2750" x2="46500" y2="2750"/>
                        <a14:foregroundMark x1="47500" y1="94500" x2="47500" y2="94500"/>
                        <a14:foregroundMark x1="48250" y1="98000" x2="48250" y2="98000"/>
                        <a14:foregroundMark x1="43000" y1="9000" x2="56250" y2="21250"/>
                        <a14:backgroundMark x1="2000" y1="45500" x2="2000" y2="45500"/>
                        <a14:backgroundMark x1="2000" y1="46500" x2="2000" y2="46500"/>
                        <a14:backgroundMark x1="2000" y1="46500" x2="2000" y2="46500"/>
                        <a14:backgroundMark x1="2000" y1="46500" x2="2000" y2="46500"/>
                        <a14:backgroundMark x1="2000" y1="46500" x2="2000" y2="46500"/>
                        <a14:backgroundMark x1="3000" y1="44750" x2="3000" y2="44750"/>
                        <a14:backgroundMark x1="2000" y1="43000" x2="3000" y2="4725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7999" y="1102718"/>
            <a:ext cx="1268183" cy="1268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8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10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 dirty="0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Node.js</a:t>
            </a:r>
            <a:endParaRPr lang="es-ES" dirty="0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23">
            <a:extLst>
              <a:ext uri="{FF2B5EF4-FFF2-40B4-BE49-F238E27FC236}">
                <a16:creationId xmlns:a16="http://schemas.microsoft.com/office/drawing/2014/main" id="{D17781F2-1020-4343-B88F-03234841DEB0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Installing libraries</a:t>
            </a:r>
            <a:endParaRPr lang="es-ES" i="1" dirty="0"/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67547B7E-622B-E34B-9CCA-0F2801E97628}"/>
              </a:ext>
            </a:extLst>
          </p:cNvPr>
          <p:cNvSpPr/>
          <p:nvPr/>
        </p:nvSpPr>
        <p:spPr>
          <a:xfrm>
            <a:off x="348344" y="1193524"/>
            <a:ext cx="11625942" cy="505909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400" b="1" dirty="0">
                <a:latin typeface="Century Gothic"/>
              </a:rPr>
              <a:t>Installing libraries</a:t>
            </a:r>
          </a:p>
          <a:p>
            <a:pPr>
              <a:spcBef>
                <a:spcPct val="20000"/>
              </a:spcBef>
            </a:pPr>
            <a:r>
              <a:rPr lang="en-US" b="1" dirty="0">
                <a:latin typeface="Century Gothic"/>
              </a:rPr>
              <a:t>Node.js</a:t>
            </a:r>
            <a:r>
              <a:rPr lang="en-US" dirty="0">
                <a:latin typeface="Century Gothic"/>
              </a:rPr>
              <a:t> features two installation models:</a:t>
            </a:r>
          </a:p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latin typeface="Century Gothic"/>
              </a:rPr>
              <a:t>Local</a:t>
            </a:r>
            <a:r>
              <a:rPr lang="en-US" dirty="0">
                <a:latin typeface="Century Gothic"/>
              </a:rPr>
              <a:t>: the dependency is added to the project on the </a:t>
            </a:r>
            <a:r>
              <a:rPr lang="en-US" i="1" dirty="0" err="1">
                <a:latin typeface="Century Gothic"/>
              </a:rPr>
              <a:t>node_modules</a:t>
            </a:r>
            <a:r>
              <a:rPr lang="en-US" dirty="0">
                <a:latin typeface="Century Gothic"/>
              </a:rPr>
              <a:t> folder.</a:t>
            </a:r>
          </a:p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latin typeface="Century Gothic"/>
              </a:rPr>
              <a:t>Global</a:t>
            </a:r>
            <a:r>
              <a:rPr lang="en-US" dirty="0">
                <a:latin typeface="Century Gothic"/>
              </a:rPr>
              <a:t>: the dependency is globally added to the interpreter and can be used by all projects.</a:t>
            </a: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dirty="0">
                <a:latin typeface="Century Gothic"/>
              </a:rPr>
              <a:t>In order to avoid issues, </a:t>
            </a:r>
            <a:r>
              <a:rPr lang="en-US" b="1" dirty="0">
                <a:latin typeface="Century Gothic"/>
              </a:rPr>
              <a:t>global installations are only recommended for tools/CLIs </a:t>
            </a:r>
            <a:r>
              <a:rPr lang="en-US" dirty="0">
                <a:latin typeface="Century Gothic"/>
              </a:rPr>
              <a:t>rather than project dependencies - no lock is generated, multiple dependency versions may clash, no lock file is generated for </a:t>
            </a:r>
            <a:r>
              <a:rPr lang="en-US" dirty="0" err="1">
                <a:latin typeface="Century Gothic"/>
              </a:rPr>
              <a:t>globals</a:t>
            </a:r>
            <a:r>
              <a:rPr lang="en-US" dirty="0">
                <a:latin typeface="Century Gothic"/>
              </a:rPr>
              <a:t>, among other possible issues.</a:t>
            </a: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dirty="0">
                <a:latin typeface="Century Gothic"/>
              </a:rPr>
              <a:t>Locally, we can also differentiate between two categories:</a:t>
            </a:r>
          </a:p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latin typeface="Century Gothic"/>
              </a:rPr>
              <a:t>Dependencies</a:t>
            </a:r>
            <a:r>
              <a:rPr lang="en-US" dirty="0">
                <a:latin typeface="Century Gothic"/>
              </a:rPr>
              <a:t>: added under the </a:t>
            </a:r>
            <a:r>
              <a:rPr lang="en-US" i="1" dirty="0">
                <a:latin typeface="Century Gothic"/>
              </a:rPr>
              <a:t>dependencies</a:t>
            </a:r>
            <a:r>
              <a:rPr lang="en-US" dirty="0">
                <a:latin typeface="Century Gothic"/>
              </a:rPr>
              <a:t> node, these dependencies will always be installed.</a:t>
            </a:r>
          </a:p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latin typeface="Century Gothic"/>
              </a:rPr>
              <a:t>Development dependencies</a:t>
            </a:r>
            <a:r>
              <a:rPr lang="en-US" dirty="0">
                <a:latin typeface="Century Gothic"/>
              </a:rPr>
              <a:t>: added under the </a:t>
            </a:r>
            <a:r>
              <a:rPr lang="en-US" i="1" dirty="0" err="1">
                <a:latin typeface="Century Gothic"/>
              </a:rPr>
              <a:t>devDependencies</a:t>
            </a:r>
            <a:r>
              <a:rPr lang="en-US" dirty="0">
                <a:latin typeface="Century Gothic"/>
              </a:rPr>
              <a:t> node, these dependencies will not be installed if the </a:t>
            </a:r>
            <a:r>
              <a:rPr lang="en-US" i="1" dirty="0">
                <a:latin typeface="Century Gothic"/>
              </a:rPr>
              <a:t>--production</a:t>
            </a:r>
            <a:r>
              <a:rPr lang="en-US" dirty="0">
                <a:latin typeface="Century Gothic"/>
              </a:rPr>
              <a:t> flag is used.</a:t>
            </a:r>
            <a:br>
              <a:rPr lang="en-US" dirty="0">
                <a:latin typeface="Century Gothic"/>
              </a:rPr>
            </a:br>
            <a:r>
              <a:rPr lang="en-US" i="1" dirty="0">
                <a:latin typeface="Century Gothic"/>
              </a:rPr>
              <a:t>Testing</a:t>
            </a:r>
            <a:r>
              <a:rPr lang="en-US" dirty="0">
                <a:latin typeface="Century Gothic"/>
              </a:rPr>
              <a:t>/</a:t>
            </a:r>
            <a:r>
              <a:rPr lang="en-US" i="1" dirty="0">
                <a:latin typeface="Century Gothic"/>
              </a:rPr>
              <a:t>linting</a:t>
            </a:r>
            <a:r>
              <a:rPr lang="en-US" dirty="0">
                <a:latin typeface="Century Gothic"/>
              </a:rPr>
              <a:t>/</a:t>
            </a:r>
            <a:r>
              <a:rPr lang="en-US" i="1" dirty="0">
                <a:latin typeface="Century Gothic"/>
              </a:rPr>
              <a:t>compilation</a:t>
            </a:r>
            <a:r>
              <a:rPr lang="en-US" dirty="0">
                <a:latin typeface="Century Gothic"/>
              </a:rPr>
              <a:t> dependencies fit this category.</a:t>
            </a:r>
          </a:p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latin typeface="Century Gothic"/>
              </a:rPr>
              <a:t>Peer dependencies</a:t>
            </a:r>
            <a:r>
              <a:rPr lang="en-US" dirty="0">
                <a:latin typeface="Century Gothic"/>
              </a:rPr>
              <a:t>: added under the </a:t>
            </a:r>
            <a:r>
              <a:rPr lang="en-US" i="1" dirty="0" err="1">
                <a:latin typeface="Century Gothic"/>
              </a:rPr>
              <a:t>peerDependencies</a:t>
            </a:r>
            <a:r>
              <a:rPr lang="en-US" dirty="0">
                <a:latin typeface="Century Gothic"/>
              </a:rPr>
              <a:t> node. These will never be installed as it is assumed they’ll be provided by the runtime environment or the module importing our application.</a:t>
            </a:r>
            <a:br>
              <a:rPr lang="en-US" dirty="0">
                <a:latin typeface="Century Gothic"/>
              </a:rPr>
            </a:br>
            <a:r>
              <a:rPr lang="en-US" dirty="0">
                <a:latin typeface="Century Gothic"/>
              </a:rPr>
              <a:t>These are usually used to avoid duplicating dependencies.</a:t>
            </a:r>
          </a:p>
        </p:txBody>
      </p:sp>
    </p:spTree>
    <p:extLst>
      <p:ext uri="{BB962C8B-B14F-4D97-AF65-F5344CB8AC3E}">
        <p14:creationId xmlns:p14="http://schemas.microsoft.com/office/powerpoint/2010/main" val="2997643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3716000" cy="6885384"/>
          </a:xfrm>
          <a:prstGeom prst="rect">
            <a:avLst/>
          </a:prstGeom>
        </p:spPr>
      </p:pic>
      <p:sp>
        <p:nvSpPr>
          <p:cNvPr id="24" name="Rectangle 28"/>
          <p:cNvSpPr/>
          <p:nvPr/>
        </p:nvSpPr>
        <p:spPr>
          <a:xfrm>
            <a:off x="2" y="2"/>
            <a:ext cx="7315198" cy="6857999"/>
          </a:xfrm>
          <a:prstGeom prst="rect">
            <a:avLst/>
          </a:prstGeom>
          <a:solidFill>
            <a:srgbClr val="000000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375467">
              <a:defRPr/>
            </a:pPr>
            <a:endParaRPr lang="en-US" sz="2667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Rectangle 23"/>
          <p:cNvSpPr/>
          <p:nvPr/>
        </p:nvSpPr>
        <p:spPr>
          <a:xfrm>
            <a:off x="1048364" y="221159"/>
            <a:ext cx="135646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75467"/>
            <a:r>
              <a:rPr lang="en-US" sz="3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INDEX</a:t>
            </a:r>
          </a:p>
        </p:txBody>
      </p:sp>
      <p:cxnSp>
        <p:nvCxnSpPr>
          <p:cNvPr id="27" name="Straight Connector 24"/>
          <p:cNvCxnSpPr/>
          <p:nvPr/>
        </p:nvCxnSpPr>
        <p:spPr>
          <a:xfrm>
            <a:off x="593444" y="836712"/>
            <a:ext cx="3996000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46" name="45 CuadroTexto"/>
          <p:cNvSpPr txBox="1"/>
          <p:nvPr/>
        </p:nvSpPr>
        <p:spPr>
          <a:xfrm>
            <a:off x="431373" y="1001627"/>
            <a:ext cx="7582860" cy="230832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3200" dirty="0">
                <a:solidFill>
                  <a:schemeClr val="bg1"/>
                </a:solidFill>
                <a:latin typeface="Century Gothic"/>
              </a:rPr>
              <a:t>Introduction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Node.j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Flow control mechanisms</a:t>
            </a:r>
            <a:endParaRPr lang="en-US" sz="2400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</a:endParaRP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Q&amp;A</a:t>
            </a:r>
          </a:p>
        </p:txBody>
      </p:sp>
      <p:sp>
        <p:nvSpPr>
          <p:cNvPr id="11" name="16 Rectángulo"/>
          <p:cNvSpPr/>
          <p:nvPr/>
        </p:nvSpPr>
        <p:spPr>
          <a:xfrm>
            <a:off x="7315200" y="-27384"/>
            <a:ext cx="49827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146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586" descr="The Node Way- Philosophy of a Platform | by Aman Mittal | Medium">
            <a:extLst>
              <a:ext uri="{FF2B5EF4-FFF2-40B4-BE49-F238E27FC236}">
                <a16:creationId xmlns:a16="http://schemas.microsoft.com/office/drawing/2014/main" id="{1F863DB8-0CD3-6248-8127-179AD89D75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750" b="98000" l="4750" r="92750">
                        <a14:foregroundMark x1="6125" y1="46500" x2="10000" y2="54250"/>
                        <a14:foregroundMark x1="81500" y1="43750" x2="83250" y2="54250"/>
                        <a14:foregroundMark x1="88500" y1="66500" x2="88500" y2="66500"/>
                        <a14:foregroundMark x1="88500" y1="63000" x2="88500" y2="70750"/>
                        <a14:foregroundMark x1="89250" y1="67500" x2="90250" y2="72500"/>
                        <a14:foregroundMark x1="90250" y1="71750" x2="90250" y2="64750"/>
                        <a14:foregroundMark x1="90250" y1="64000" x2="92750" y2="70750"/>
                        <a14:foregroundMark x1="49250" y1="6250" x2="49250" y2="6250"/>
                        <a14:foregroundMark x1="46500" y1="2750" x2="46500" y2="2750"/>
                        <a14:foregroundMark x1="47500" y1="94500" x2="47500" y2="94500"/>
                        <a14:foregroundMark x1="48250" y1="98000" x2="48250" y2="98000"/>
                        <a14:foregroundMark x1="43000" y1="9000" x2="56250" y2="21250"/>
                        <a14:backgroundMark x1="2000" y1="45500" x2="2000" y2="45500"/>
                        <a14:backgroundMark x1="2000" y1="46500" x2="2000" y2="46500"/>
                        <a14:backgroundMark x1="2000" y1="46500" x2="2000" y2="46500"/>
                        <a14:backgroundMark x1="2000" y1="46500" x2="2000" y2="46500"/>
                        <a14:backgroundMark x1="2000" y1="46500" x2="2000" y2="46500"/>
                        <a14:backgroundMark x1="3000" y1="44750" x2="3000" y2="44750"/>
                        <a14:backgroundMark x1="2000" y1="43000" x2="3000" y2="4725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7999" y="1102718"/>
            <a:ext cx="1268183" cy="1268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6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10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 dirty="0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Node.js</a:t>
            </a:r>
            <a:endParaRPr lang="es-ES" dirty="0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4" y="1193522"/>
            <a:ext cx="7514216" cy="523993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400" b="1" dirty="0">
                <a:latin typeface="Century Gothic"/>
              </a:rPr>
              <a:t>Running programs</a:t>
            </a:r>
          </a:p>
          <a:p>
            <a:pPr>
              <a:spcBef>
                <a:spcPct val="20000"/>
              </a:spcBef>
            </a:pPr>
            <a:r>
              <a:rPr lang="en-US" b="1" dirty="0">
                <a:latin typeface="Century Gothic"/>
              </a:rPr>
              <a:t>Node.js</a:t>
            </a:r>
            <a:r>
              <a:rPr lang="en-US" dirty="0">
                <a:latin typeface="Century Gothic"/>
              </a:rPr>
              <a:t> offers a few alternatives to run our programs:</a:t>
            </a: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  <a:p>
            <a:pPr marL="342900" indent="-342900">
              <a:spcBef>
                <a:spcPct val="20000"/>
              </a:spcBef>
              <a:buFont typeface="+mj-lt"/>
              <a:buAutoNum type="arabicPeriod"/>
            </a:pPr>
            <a:r>
              <a:rPr lang="en-US" dirty="0">
                <a:latin typeface="Century Gothic"/>
              </a:rPr>
              <a:t>We can run </a:t>
            </a:r>
            <a:r>
              <a:rPr lang="en-US" i="1" dirty="0">
                <a:latin typeface="Century Gothic"/>
              </a:rPr>
              <a:t>Node.js</a:t>
            </a:r>
            <a:r>
              <a:rPr lang="en-US" dirty="0">
                <a:latin typeface="Century Gothic"/>
              </a:rPr>
              <a:t> scripts by </a:t>
            </a:r>
            <a:r>
              <a:rPr lang="en-US" b="1" dirty="0">
                <a:latin typeface="Century Gothic"/>
              </a:rPr>
              <a:t>using the </a:t>
            </a:r>
            <a:r>
              <a:rPr lang="en-US" b="1" i="1" dirty="0">
                <a:latin typeface="Century Gothic"/>
              </a:rPr>
              <a:t>Node.js</a:t>
            </a:r>
            <a:r>
              <a:rPr lang="en-US" b="1" dirty="0">
                <a:latin typeface="Century Gothic"/>
              </a:rPr>
              <a:t> CLI</a:t>
            </a:r>
            <a:r>
              <a:rPr lang="en-US" dirty="0">
                <a:latin typeface="Century Gothic"/>
              </a:rPr>
              <a:t>.</a:t>
            </a:r>
          </a:p>
          <a:p>
            <a:pPr marL="342900" indent="-342900">
              <a:spcBef>
                <a:spcPct val="20000"/>
              </a:spcBef>
              <a:buFont typeface="+mj-lt"/>
              <a:buAutoNum type="arabicPeriod"/>
            </a:pPr>
            <a:r>
              <a:rPr lang="en-US" dirty="0">
                <a:latin typeface="Century Gothic"/>
              </a:rPr>
              <a:t>In case we’re using an IDE with Node.js integration, we may also run programs </a:t>
            </a:r>
            <a:r>
              <a:rPr lang="en-US" b="1" dirty="0">
                <a:latin typeface="Century Gothic"/>
              </a:rPr>
              <a:t>from the IDE itself</a:t>
            </a:r>
            <a:r>
              <a:rPr lang="en-US" dirty="0">
                <a:latin typeface="Century Gothic"/>
              </a:rPr>
              <a:t> – however, it is probable that we may have to provide the Node.js interpreter path to the IDE.</a:t>
            </a:r>
          </a:p>
          <a:p>
            <a:pPr marL="342900" indent="-342900">
              <a:spcBef>
                <a:spcPct val="20000"/>
              </a:spcBef>
              <a:buFont typeface="+mj-lt"/>
              <a:buAutoNum type="arabicPeriod"/>
            </a:pPr>
            <a:r>
              <a:rPr lang="en-US" dirty="0">
                <a:latin typeface="Century Gothic"/>
              </a:rPr>
              <a:t>We can also </a:t>
            </a:r>
            <a:r>
              <a:rPr lang="en-US" b="1" dirty="0">
                <a:latin typeface="Century Gothic"/>
              </a:rPr>
              <a:t>use the </a:t>
            </a:r>
            <a:r>
              <a:rPr lang="en-US" b="1" i="1" dirty="0">
                <a:latin typeface="Century Gothic"/>
              </a:rPr>
              <a:t>REPL</a:t>
            </a:r>
            <a:r>
              <a:rPr lang="en-US" b="1" dirty="0">
                <a:latin typeface="Century Gothic"/>
              </a:rPr>
              <a:t> </a:t>
            </a:r>
            <a:r>
              <a:rPr lang="en-US" dirty="0">
                <a:latin typeface="Century Gothic"/>
              </a:rPr>
              <a:t>(Read-Eval-Print-Loop) tool built in into Node.js out of the box to run small code snippets.</a:t>
            </a:r>
          </a:p>
          <a:p>
            <a:pPr marL="342900" indent="-342900">
              <a:spcBef>
                <a:spcPct val="20000"/>
              </a:spcBef>
              <a:buFont typeface="+mj-lt"/>
              <a:buAutoNum type="arabicPeriod"/>
            </a:pPr>
            <a:r>
              <a:rPr lang="en-US" dirty="0">
                <a:latin typeface="Century Gothic"/>
              </a:rPr>
              <a:t>Lastly, we may also resort to a </a:t>
            </a:r>
            <a:r>
              <a:rPr lang="en-US" b="1" i="1" dirty="0" err="1">
                <a:latin typeface="Century Gothic"/>
              </a:rPr>
              <a:t>npm</a:t>
            </a:r>
            <a:r>
              <a:rPr lang="en-US" b="1" i="1" dirty="0">
                <a:latin typeface="Century Gothic"/>
              </a:rPr>
              <a:t> </a:t>
            </a:r>
            <a:r>
              <a:rPr lang="en-US" b="1" dirty="0">
                <a:latin typeface="Century Gothic"/>
              </a:rPr>
              <a:t>script </a:t>
            </a:r>
            <a:r>
              <a:rPr lang="en-US" dirty="0">
                <a:latin typeface="Century Gothic"/>
              </a:rPr>
              <a:t>to run our application. This method provides a good layer of abstraction in case we may want to change the specific run command at any point in time.</a:t>
            </a:r>
          </a:p>
        </p:txBody>
      </p:sp>
      <p:sp>
        <p:nvSpPr>
          <p:cNvPr id="51" name="Rectangle 23">
            <a:extLst>
              <a:ext uri="{FF2B5EF4-FFF2-40B4-BE49-F238E27FC236}">
                <a16:creationId xmlns:a16="http://schemas.microsoft.com/office/drawing/2014/main" id="{D17781F2-1020-4343-B88F-03234841DEB0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Running programs</a:t>
            </a:r>
            <a:endParaRPr lang="es-ES" i="1" dirty="0"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21CA1E49-BFF0-2A4B-9064-827BEC89C538}"/>
              </a:ext>
            </a:extLst>
          </p:cNvPr>
          <p:cNvSpPr/>
          <p:nvPr/>
        </p:nvSpPr>
        <p:spPr>
          <a:xfrm>
            <a:off x="8240486" y="2721558"/>
            <a:ext cx="3695696" cy="313297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latin typeface="Consolas"/>
                <a:cs typeface="Calibri"/>
              </a:rPr>
              <a:t># Using the Node.js CLI</a:t>
            </a:r>
          </a:p>
          <a:p>
            <a:r>
              <a:rPr lang="en-US" sz="1600" dirty="0">
                <a:latin typeface="Consolas"/>
                <a:cs typeface="Calibri"/>
              </a:rPr>
              <a:t>node </a:t>
            </a:r>
            <a:r>
              <a:rPr lang="en-US" sz="1600" dirty="0" err="1">
                <a:latin typeface="Consolas"/>
                <a:cs typeface="Calibri"/>
              </a:rPr>
              <a:t>script.js</a:t>
            </a:r>
            <a:endParaRPr lang="en-US" sz="1600" dirty="0">
              <a:latin typeface="Consolas"/>
              <a:cs typeface="Calibri"/>
            </a:endParaRPr>
          </a:p>
          <a:p>
            <a:endParaRPr lang="en-US" sz="1600" dirty="0">
              <a:latin typeface="Consolas"/>
              <a:cs typeface="Calibri"/>
            </a:endParaRPr>
          </a:p>
          <a:p>
            <a:r>
              <a:rPr lang="en-US" sz="1600" dirty="0">
                <a:latin typeface="Consolas"/>
                <a:cs typeface="Calibri"/>
              </a:rPr>
              <a:t># We can start the REPL by </a:t>
            </a:r>
          </a:p>
          <a:p>
            <a:r>
              <a:rPr lang="en-US" sz="1600" dirty="0">
                <a:latin typeface="Consolas"/>
                <a:cs typeface="Calibri"/>
              </a:rPr>
              <a:t># simply invoking the Node binary</a:t>
            </a:r>
          </a:p>
          <a:p>
            <a:r>
              <a:rPr lang="en-US" sz="1600" dirty="0">
                <a:latin typeface="Consolas"/>
                <a:cs typeface="Calibri"/>
              </a:rPr>
              <a:t>node</a:t>
            </a:r>
          </a:p>
          <a:p>
            <a:endParaRPr lang="en-US" sz="1600" dirty="0">
              <a:latin typeface="Consolas"/>
              <a:cs typeface="Calibri"/>
            </a:endParaRPr>
          </a:p>
          <a:p>
            <a:r>
              <a:rPr lang="en-US" sz="1600" dirty="0">
                <a:latin typeface="Consolas"/>
                <a:cs typeface="Calibri"/>
              </a:rPr>
              <a:t># Using a </a:t>
            </a:r>
            <a:r>
              <a:rPr lang="en-US" sz="1600" i="1" dirty="0" err="1">
                <a:latin typeface="Consolas"/>
                <a:cs typeface="Calibri"/>
              </a:rPr>
              <a:t>npm</a:t>
            </a:r>
            <a:r>
              <a:rPr lang="en-US" sz="1600" dirty="0">
                <a:latin typeface="Consolas"/>
                <a:cs typeface="Calibri"/>
              </a:rPr>
              <a:t> script</a:t>
            </a:r>
          </a:p>
          <a:p>
            <a:r>
              <a:rPr lang="en-US" sz="1600" dirty="0" err="1">
                <a:latin typeface="Consolas"/>
                <a:cs typeface="Calibri"/>
              </a:rPr>
              <a:t>npm</a:t>
            </a:r>
            <a:r>
              <a:rPr lang="en-US" sz="1600" dirty="0">
                <a:latin typeface="Consolas"/>
                <a:cs typeface="Calibri"/>
              </a:rPr>
              <a:t> start</a:t>
            </a:r>
          </a:p>
        </p:txBody>
      </p:sp>
    </p:spTree>
    <p:extLst>
      <p:ext uri="{BB962C8B-B14F-4D97-AF65-F5344CB8AC3E}">
        <p14:creationId xmlns:p14="http://schemas.microsoft.com/office/powerpoint/2010/main" val="4109850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Node.js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23">
            <a:extLst>
              <a:ext uri="{FF2B5EF4-FFF2-40B4-BE49-F238E27FC236}">
                <a16:creationId xmlns:a16="http://schemas.microsoft.com/office/drawing/2014/main" id="{6CBD4B3D-78A9-46CF-B7B8-8C171B3F1943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Exercises</a:t>
            </a:r>
            <a:endParaRPr lang="es-ES" i="1" dirty="0"/>
          </a:p>
        </p:txBody>
      </p:sp>
      <p:pic>
        <p:nvPicPr>
          <p:cNvPr id="15" name="Picture 2" descr="Hands-On Training">
            <a:extLst>
              <a:ext uri="{FF2B5EF4-FFF2-40B4-BE49-F238E27FC236}">
                <a16:creationId xmlns:a16="http://schemas.microsoft.com/office/drawing/2014/main" id="{DF4EF015-7992-4859-AC70-FEBECA67C1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922"/>
          <a:stretch/>
        </p:blipFill>
        <p:spPr bwMode="auto">
          <a:xfrm>
            <a:off x="1718310" y="2522066"/>
            <a:ext cx="2716530" cy="2812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3">
            <a:extLst>
              <a:ext uri="{FF2B5EF4-FFF2-40B4-BE49-F238E27FC236}">
                <a16:creationId xmlns:a16="http://schemas.microsoft.com/office/drawing/2014/main" id="{6909A535-8C53-4A37-B3E0-FC6F7A28423E}"/>
              </a:ext>
            </a:extLst>
          </p:cNvPr>
          <p:cNvSpPr/>
          <p:nvPr/>
        </p:nvSpPr>
        <p:spPr>
          <a:xfrm>
            <a:off x="4434840" y="1808000"/>
            <a:ext cx="7081157" cy="42410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</a:pPr>
            <a:r>
              <a:rPr lang="en-US" sz="3200" b="1" dirty="0">
                <a:latin typeface="Century Gothic"/>
              </a:rPr>
              <a:t>Exercise 2.1</a:t>
            </a:r>
          </a:p>
          <a:p>
            <a:pPr>
              <a:spcBef>
                <a:spcPct val="20000"/>
              </a:spcBef>
            </a:pPr>
            <a:r>
              <a:rPr lang="en-US" sz="2400" dirty="0">
                <a:latin typeface="Century Gothic"/>
              </a:rPr>
              <a:t>Create a module which exposes a function that returns a list of users on the provided </a:t>
            </a:r>
            <a:r>
              <a:rPr lang="en-US" sz="2400" i="1" dirty="0">
                <a:latin typeface="Century Gothic"/>
              </a:rPr>
              <a:t>JSON</a:t>
            </a:r>
            <a:r>
              <a:rPr lang="en-US" sz="2400" dirty="0">
                <a:latin typeface="Century Gothic"/>
              </a:rPr>
              <a:t> format.</a:t>
            </a:r>
          </a:p>
          <a:p>
            <a:pPr>
              <a:spcBef>
                <a:spcPct val="20000"/>
              </a:spcBef>
            </a:pPr>
            <a:r>
              <a:rPr lang="en-US" sz="3200" b="1" dirty="0">
                <a:latin typeface="Century Gothic"/>
              </a:rPr>
              <a:t>Exercise 2.2</a:t>
            </a:r>
          </a:p>
          <a:p>
            <a:pPr>
              <a:spcBef>
                <a:spcPct val="20000"/>
              </a:spcBef>
            </a:pPr>
            <a:r>
              <a:rPr lang="en-US" sz="2400" dirty="0">
                <a:latin typeface="Century Gothic"/>
                <a:cs typeface="Calibri" panose="020F0502020204030204"/>
              </a:rPr>
              <a:t>Implement a main script that uses the module from 1.1 to allocate the users. Generate a string which contains their full name and print it – try to use functional features.</a:t>
            </a:r>
          </a:p>
        </p:txBody>
      </p:sp>
    </p:spTree>
    <p:extLst>
      <p:ext uri="{BB962C8B-B14F-4D97-AF65-F5344CB8AC3E}">
        <p14:creationId xmlns:p14="http://schemas.microsoft.com/office/powerpoint/2010/main" val="314122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Node.js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23">
            <a:extLst>
              <a:ext uri="{FF2B5EF4-FFF2-40B4-BE49-F238E27FC236}">
                <a16:creationId xmlns:a16="http://schemas.microsoft.com/office/drawing/2014/main" id="{6CBD4B3D-78A9-46CF-B7B8-8C171B3F1943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Exercises</a:t>
            </a:r>
            <a:endParaRPr lang="es-ES" i="1" dirty="0"/>
          </a:p>
        </p:txBody>
      </p:sp>
      <p:pic>
        <p:nvPicPr>
          <p:cNvPr id="15" name="Picture 2" descr="Hands-On Training">
            <a:extLst>
              <a:ext uri="{FF2B5EF4-FFF2-40B4-BE49-F238E27FC236}">
                <a16:creationId xmlns:a16="http://schemas.microsoft.com/office/drawing/2014/main" id="{DF4EF015-7992-4859-AC70-FEBECA67C1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922"/>
          <a:stretch/>
        </p:blipFill>
        <p:spPr bwMode="auto">
          <a:xfrm>
            <a:off x="1718310" y="2522066"/>
            <a:ext cx="2716530" cy="2812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3">
            <a:extLst>
              <a:ext uri="{FF2B5EF4-FFF2-40B4-BE49-F238E27FC236}">
                <a16:creationId xmlns:a16="http://schemas.microsoft.com/office/drawing/2014/main" id="{6909A535-8C53-4A37-B3E0-FC6F7A28423E}"/>
              </a:ext>
            </a:extLst>
          </p:cNvPr>
          <p:cNvSpPr/>
          <p:nvPr/>
        </p:nvSpPr>
        <p:spPr>
          <a:xfrm>
            <a:off x="4434840" y="1808000"/>
            <a:ext cx="7081157" cy="42410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</a:pPr>
            <a:r>
              <a:rPr lang="en-US" sz="3200" b="1" dirty="0">
                <a:latin typeface="Century Gothic"/>
              </a:rPr>
              <a:t>Exercise 2.3</a:t>
            </a:r>
          </a:p>
          <a:p>
            <a:pPr>
              <a:spcBef>
                <a:spcPct val="20000"/>
              </a:spcBef>
            </a:pPr>
            <a:r>
              <a:rPr lang="en-US" sz="2400" dirty="0">
                <a:latin typeface="Century Gothic"/>
              </a:rPr>
              <a:t>Initialize the package configuration by invoking </a:t>
            </a:r>
            <a:r>
              <a:rPr lang="en-US" sz="2400" i="1" dirty="0" err="1">
                <a:latin typeface="Century Gothic"/>
              </a:rPr>
              <a:t>npm</a:t>
            </a:r>
            <a:r>
              <a:rPr lang="en-US" sz="2400" i="1" dirty="0">
                <a:latin typeface="Century Gothic"/>
              </a:rPr>
              <a:t> </a:t>
            </a:r>
            <a:r>
              <a:rPr lang="en-US" sz="2400" i="1" dirty="0" err="1">
                <a:latin typeface="Century Gothic"/>
              </a:rPr>
              <a:t>init</a:t>
            </a:r>
            <a:r>
              <a:rPr lang="en-US" sz="2400" dirty="0" err="1">
                <a:latin typeface="Century Gothic"/>
              </a:rPr>
              <a:t>.</a:t>
            </a:r>
            <a:r>
              <a:rPr lang="en-US" sz="2400" dirty="0">
                <a:latin typeface="Century Gothic"/>
              </a:rPr>
              <a:t> Check the </a:t>
            </a:r>
            <a:r>
              <a:rPr lang="en-US" sz="2400" i="1" dirty="0" err="1">
                <a:latin typeface="Century Gothic"/>
              </a:rPr>
              <a:t>package.json</a:t>
            </a:r>
            <a:r>
              <a:rPr lang="en-US" sz="2400" dirty="0">
                <a:latin typeface="Century Gothic"/>
              </a:rPr>
              <a:t> file.</a:t>
            </a:r>
          </a:p>
          <a:p>
            <a:pPr>
              <a:spcBef>
                <a:spcPct val="20000"/>
              </a:spcBef>
            </a:pPr>
            <a:r>
              <a:rPr lang="en-US" sz="3200" b="1" dirty="0">
                <a:latin typeface="Century Gothic"/>
              </a:rPr>
              <a:t>Exercise 2.4</a:t>
            </a:r>
          </a:p>
          <a:p>
            <a:pPr>
              <a:spcBef>
                <a:spcPct val="20000"/>
              </a:spcBef>
            </a:pPr>
            <a:r>
              <a:rPr lang="en-US" sz="2400" dirty="0">
                <a:latin typeface="Century Gothic"/>
                <a:cs typeface="Calibri" panose="020F0502020204030204"/>
              </a:rPr>
              <a:t>Using the newly created package, install </a:t>
            </a:r>
            <a:r>
              <a:rPr lang="en-US" sz="2400" i="1" dirty="0" err="1">
                <a:latin typeface="Century Gothic"/>
                <a:cs typeface="Calibri" panose="020F0502020204030204"/>
              </a:rPr>
              <a:t>axios</a:t>
            </a:r>
            <a:r>
              <a:rPr lang="en-US" sz="2400" dirty="0">
                <a:latin typeface="Century Gothic"/>
                <a:cs typeface="Calibri" panose="020F0502020204030204"/>
              </a:rPr>
              <a:t> and </a:t>
            </a:r>
            <a:r>
              <a:rPr lang="en-US" sz="2400" i="1" dirty="0">
                <a:latin typeface="Century Gothic"/>
                <a:cs typeface="Calibri" panose="020F0502020204030204"/>
              </a:rPr>
              <a:t>express</a:t>
            </a:r>
            <a:r>
              <a:rPr lang="en-US" sz="2400" dirty="0">
                <a:latin typeface="Century Gothic"/>
                <a:cs typeface="Calibri" panose="020F0502020204030204"/>
              </a:rPr>
              <a:t>. Install </a:t>
            </a:r>
            <a:r>
              <a:rPr lang="en-US" sz="2400" i="1" dirty="0">
                <a:latin typeface="Century Gothic"/>
                <a:cs typeface="Calibri" panose="020F0502020204030204"/>
              </a:rPr>
              <a:t>thin2-mocker</a:t>
            </a:r>
            <a:r>
              <a:rPr lang="en-US" sz="2400" dirty="0">
                <a:latin typeface="Century Gothic"/>
                <a:cs typeface="Calibri" panose="020F0502020204030204"/>
              </a:rPr>
              <a:t> globally.</a:t>
            </a:r>
          </a:p>
          <a:p>
            <a:pPr>
              <a:spcBef>
                <a:spcPct val="20000"/>
              </a:spcBef>
            </a:pPr>
            <a:r>
              <a:rPr lang="en-US" sz="2400" dirty="0">
                <a:latin typeface="Century Gothic"/>
                <a:cs typeface="Calibri" panose="020F0502020204030204"/>
              </a:rPr>
              <a:t>Check the </a:t>
            </a:r>
            <a:r>
              <a:rPr lang="en-US" sz="2400" i="1" dirty="0" err="1">
                <a:latin typeface="Century Gothic"/>
                <a:cs typeface="Calibri" panose="020F0502020204030204"/>
              </a:rPr>
              <a:t>package.json</a:t>
            </a:r>
            <a:r>
              <a:rPr lang="en-US" sz="2400" dirty="0">
                <a:latin typeface="Century Gothic"/>
                <a:cs typeface="Calibri" panose="020F0502020204030204"/>
              </a:rPr>
              <a:t> file, what has changed?</a:t>
            </a:r>
          </a:p>
          <a:p>
            <a:pPr>
              <a:spcBef>
                <a:spcPct val="20000"/>
              </a:spcBef>
            </a:pPr>
            <a:r>
              <a:rPr lang="en-US" sz="2400" dirty="0">
                <a:latin typeface="Century Gothic"/>
                <a:cs typeface="Calibri" panose="020F0502020204030204"/>
              </a:rPr>
              <a:t>We will use </a:t>
            </a:r>
            <a:r>
              <a:rPr lang="en-US" sz="2400" i="1" dirty="0">
                <a:latin typeface="Century Gothic"/>
                <a:cs typeface="Calibri" panose="020F0502020204030204"/>
              </a:rPr>
              <a:t>thin2-mocker</a:t>
            </a:r>
            <a:r>
              <a:rPr lang="en-US" sz="2400" dirty="0">
                <a:latin typeface="Century Gothic"/>
                <a:cs typeface="Calibri" panose="020F0502020204030204"/>
              </a:rPr>
              <a:t> to mock APIs on the coming sections.</a:t>
            </a:r>
          </a:p>
        </p:txBody>
      </p:sp>
    </p:spTree>
    <p:extLst>
      <p:ext uri="{BB962C8B-B14F-4D97-AF65-F5344CB8AC3E}">
        <p14:creationId xmlns:p14="http://schemas.microsoft.com/office/powerpoint/2010/main" val="19163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Node.js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23">
            <a:extLst>
              <a:ext uri="{FF2B5EF4-FFF2-40B4-BE49-F238E27FC236}">
                <a16:creationId xmlns:a16="http://schemas.microsoft.com/office/drawing/2014/main" id="{6CBD4B3D-78A9-46CF-B7B8-8C171B3F1943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Exercises</a:t>
            </a:r>
            <a:endParaRPr lang="es-ES" i="1" dirty="0"/>
          </a:p>
        </p:txBody>
      </p:sp>
      <p:pic>
        <p:nvPicPr>
          <p:cNvPr id="15" name="Picture 2" descr="Hands-On Training">
            <a:extLst>
              <a:ext uri="{FF2B5EF4-FFF2-40B4-BE49-F238E27FC236}">
                <a16:creationId xmlns:a16="http://schemas.microsoft.com/office/drawing/2014/main" id="{DF4EF015-7992-4859-AC70-FEBECA67C1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922"/>
          <a:stretch/>
        </p:blipFill>
        <p:spPr bwMode="auto">
          <a:xfrm>
            <a:off x="1718310" y="2522066"/>
            <a:ext cx="2716530" cy="2812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3">
            <a:extLst>
              <a:ext uri="{FF2B5EF4-FFF2-40B4-BE49-F238E27FC236}">
                <a16:creationId xmlns:a16="http://schemas.microsoft.com/office/drawing/2014/main" id="{6909A535-8C53-4A37-B3E0-FC6F7A28423E}"/>
              </a:ext>
            </a:extLst>
          </p:cNvPr>
          <p:cNvSpPr/>
          <p:nvPr/>
        </p:nvSpPr>
        <p:spPr>
          <a:xfrm>
            <a:off x="4434840" y="1808000"/>
            <a:ext cx="7081157" cy="42410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</a:pPr>
            <a:r>
              <a:rPr lang="en-US" sz="3200" b="1" dirty="0">
                <a:latin typeface="Century Gothic"/>
              </a:rPr>
              <a:t>Exercise 2.5</a:t>
            </a:r>
          </a:p>
          <a:p>
            <a:pPr>
              <a:spcBef>
                <a:spcPct val="20000"/>
              </a:spcBef>
            </a:pPr>
            <a:r>
              <a:rPr lang="en-US" sz="2400" dirty="0">
                <a:latin typeface="Century Gothic"/>
              </a:rPr>
              <a:t>Lorem ipsum.</a:t>
            </a:r>
          </a:p>
          <a:p>
            <a:pPr>
              <a:spcBef>
                <a:spcPct val="20000"/>
              </a:spcBef>
            </a:pPr>
            <a:r>
              <a:rPr lang="en-US" sz="3200" b="1" dirty="0">
                <a:latin typeface="Century Gothic"/>
              </a:rPr>
              <a:t>Exercise 2.6</a:t>
            </a:r>
          </a:p>
          <a:p>
            <a:pPr>
              <a:spcBef>
                <a:spcPct val="20000"/>
              </a:spcBef>
            </a:pPr>
            <a:r>
              <a:rPr lang="en-US" sz="2400" dirty="0">
                <a:latin typeface="Century Gothic"/>
                <a:cs typeface="Calibri" panose="020F0502020204030204"/>
              </a:rPr>
              <a:t>Lorem ipsum.</a:t>
            </a:r>
          </a:p>
        </p:txBody>
      </p:sp>
    </p:spTree>
    <p:extLst>
      <p:ext uri="{BB962C8B-B14F-4D97-AF65-F5344CB8AC3E}">
        <p14:creationId xmlns:p14="http://schemas.microsoft.com/office/powerpoint/2010/main" val="27454591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3716000" cy="6885384"/>
          </a:xfrm>
          <a:prstGeom prst="rect">
            <a:avLst/>
          </a:prstGeom>
        </p:spPr>
      </p:pic>
      <p:sp>
        <p:nvSpPr>
          <p:cNvPr id="24" name="Rectangle 28"/>
          <p:cNvSpPr/>
          <p:nvPr/>
        </p:nvSpPr>
        <p:spPr>
          <a:xfrm>
            <a:off x="2" y="2"/>
            <a:ext cx="7315198" cy="6857999"/>
          </a:xfrm>
          <a:prstGeom prst="rect">
            <a:avLst/>
          </a:prstGeom>
          <a:solidFill>
            <a:srgbClr val="000000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375467">
              <a:defRPr/>
            </a:pPr>
            <a:endParaRPr lang="en-US" sz="2667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Rectangle 23"/>
          <p:cNvSpPr/>
          <p:nvPr/>
        </p:nvSpPr>
        <p:spPr>
          <a:xfrm>
            <a:off x="1048364" y="221159"/>
            <a:ext cx="135646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75467"/>
            <a:r>
              <a:rPr lang="en-US" sz="3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INDEX</a:t>
            </a:r>
          </a:p>
        </p:txBody>
      </p:sp>
      <p:cxnSp>
        <p:nvCxnSpPr>
          <p:cNvPr id="27" name="Straight Connector 24"/>
          <p:cNvCxnSpPr/>
          <p:nvPr/>
        </p:nvCxnSpPr>
        <p:spPr>
          <a:xfrm>
            <a:off x="593444" y="836712"/>
            <a:ext cx="3996000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46" name="45 CuadroTexto"/>
          <p:cNvSpPr txBox="1"/>
          <p:nvPr/>
        </p:nvSpPr>
        <p:spPr>
          <a:xfrm>
            <a:off x="431373" y="1001627"/>
            <a:ext cx="7582860" cy="230832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Introduction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Node.js</a:t>
            </a:r>
            <a:endParaRPr lang="en-US" sz="2400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</a:endParaRP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3200" dirty="0">
                <a:solidFill>
                  <a:schemeClr val="bg1"/>
                </a:solidFill>
                <a:latin typeface="Century Gothic"/>
              </a:rPr>
              <a:t>Flow control mechanisms</a:t>
            </a:r>
            <a:endParaRPr lang="en-US" sz="3200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Q&amp;A</a:t>
            </a:r>
          </a:p>
        </p:txBody>
      </p:sp>
      <p:sp>
        <p:nvSpPr>
          <p:cNvPr id="11" name="16 Rectángulo"/>
          <p:cNvSpPr/>
          <p:nvPr/>
        </p:nvSpPr>
        <p:spPr>
          <a:xfrm>
            <a:off x="7315200" y="-27384"/>
            <a:ext cx="49827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9450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Flow control mechanisms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3"/>
            <a:ext cx="6576947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b="1" dirty="0">
                <a:latin typeface="Century Gothic"/>
              </a:rPr>
              <a:t>Node.js </a:t>
            </a:r>
            <a:r>
              <a:rPr lang="en-US" dirty="0">
                <a:latin typeface="Century Gothic"/>
              </a:rPr>
              <a:t>provides </a:t>
            </a:r>
            <a:r>
              <a:rPr lang="en-US" b="1" dirty="0">
                <a:latin typeface="Century Gothic"/>
              </a:rPr>
              <a:t>multiple mechanisms* to manage </a:t>
            </a:r>
            <a:r>
              <a:rPr lang="en-US" b="1" i="1" dirty="0">
                <a:latin typeface="Century Gothic"/>
              </a:rPr>
              <a:t>event loop</a:t>
            </a:r>
            <a:r>
              <a:rPr lang="en-US" b="1" dirty="0">
                <a:latin typeface="Century Gothic"/>
              </a:rPr>
              <a:t> responses </a:t>
            </a:r>
            <a:r>
              <a:rPr lang="en-US" dirty="0">
                <a:latin typeface="Century Gothic"/>
              </a:rPr>
              <a:t>and their asynchronous nature. These mechanisms have evolved over time to provide better </a:t>
            </a:r>
            <a:r>
              <a:rPr lang="en-US" b="1" dirty="0">
                <a:latin typeface="Century Gothic"/>
              </a:rPr>
              <a:t>readability</a:t>
            </a:r>
            <a:r>
              <a:rPr lang="en-US" dirty="0">
                <a:latin typeface="Century Gothic"/>
              </a:rPr>
              <a:t>, </a:t>
            </a:r>
            <a:r>
              <a:rPr lang="en-US" b="1" dirty="0">
                <a:latin typeface="Century Gothic"/>
              </a:rPr>
              <a:t>code consistency </a:t>
            </a:r>
            <a:r>
              <a:rPr lang="en-US" dirty="0">
                <a:latin typeface="Century Gothic"/>
              </a:rPr>
              <a:t>and </a:t>
            </a:r>
            <a:r>
              <a:rPr lang="en-US" b="1" dirty="0">
                <a:latin typeface="Century Gothic"/>
              </a:rPr>
              <a:t>performance</a:t>
            </a:r>
            <a:r>
              <a:rPr lang="en-US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dirty="0">
                <a:latin typeface="Century Gothic"/>
              </a:rPr>
              <a:t>On this section we will take a closer look into </a:t>
            </a:r>
            <a:r>
              <a:rPr lang="en-US" b="1" i="1" dirty="0">
                <a:latin typeface="Century Gothic"/>
              </a:rPr>
              <a:t>callbacks</a:t>
            </a:r>
            <a:r>
              <a:rPr lang="en-US" dirty="0">
                <a:latin typeface="Century Gothic"/>
              </a:rPr>
              <a:t>, </a:t>
            </a:r>
            <a:r>
              <a:rPr lang="en-US" b="1" i="1" dirty="0">
                <a:latin typeface="Century Gothic"/>
              </a:rPr>
              <a:t>promises</a:t>
            </a:r>
            <a:r>
              <a:rPr lang="en-US" dirty="0">
                <a:latin typeface="Century Gothic"/>
              </a:rPr>
              <a:t> and the </a:t>
            </a:r>
            <a:r>
              <a:rPr lang="en-US" b="1" i="1" dirty="0">
                <a:latin typeface="Century Gothic"/>
              </a:rPr>
              <a:t>async</a:t>
            </a:r>
            <a:r>
              <a:rPr lang="en-US" b="1" dirty="0">
                <a:latin typeface="Century Gothic"/>
              </a:rPr>
              <a:t>/</a:t>
            </a:r>
            <a:r>
              <a:rPr lang="en-US" b="1" i="1" dirty="0">
                <a:latin typeface="Century Gothic"/>
              </a:rPr>
              <a:t>await</a:t>
            </a:r>
            <a:r>
              <a:rPr lang="en-US" b="1" dirty="0">
                <a:latin typeface="Century Gothic"/>
              </a:rPr>
              <a:t> </a:t>
            </a:r>
            <a:r>
              <a:rPr lang="en-US" dirty="0">
                <a:latin typeface="Century Gothic"/>
              </a:rPr>
              <a:t>constructs in order to get a solid grasp on them and how to use them adequately.</a:t>
            </a:r>
          </a:p>
          <a:p>
            <a:pPr>
              <a:spcBef>
                <a:spcPct val="20000"/>
              </a:spcBef>
            </a:pPr>
            <a:r>
              <a:rPr lang="en-US" dirty="0">
                <a:latin typeface="Century Gothic"/>
              </a:rPr>
              <a:t>In order to provide a consistent proving ground, we will use </a:t>
            </a:r>
            <a:r>
              <a:rPr lang="en-US" i="1" dirty="0">
                <a:latin typeface="Century Gothic"/>
              </a:rPr>
              <a:t>file opening</a:t>
            </a:r>
            <a:r>
              <a:rPr lang="en-US" dirty="0">
                <a:latin typeface="Century Gothic"/>
              </a:rPr>
              <a:t> as our example for all three mechanisms.</a:t>
            </a:r>
          </a:p>
          <a:p>
            <a:pPr>
              <a:spcBef>
                <a:spcPct val="20000"/>
              </a:spcBef>
            </a:pPr>
            <a:r>
              <a:rPr lang="en-US" dirty="0">
                <a:latin typeface="Century Gothic"/>
              </a:rPr>
              <a:t>Our goal is to merge the content of two files on an output file.</a:t>
            </a: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1200" dirty="0">
                <a:latin typeface="Century Gothic"/>
              </a:rPr>
              <a:t>* There’s additional libraries which aim to provide these mechanisms - such as </a:t>
            </a:r>
            <a:r>
              <a:rPr lang="en-US" sz="1200" i="1" dirty="0">
                <a:latin typeface="Century Gothic"/>
              </a:rPr>
              <a:t>async</a:t>
            </a:r>
            <a:r>
              <a:rPr lang="en-US" sz="1200" dirty="0">
                <a:latin typeface="Century Gothic"/>
              </a:rPr>
              <a:t>, we won’t cover these during this guide.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AACDC37-73F8-46F5-AA87-000E75188D38}"/>
              </a:ext>
            </a:extLst>
          </p:cNvPr>
          <p:cNvSpPr/>
          <p:nvPr/>
        </p:nvSpPr>
        <p:spPr>
          <a:xfrm>
            <a:off x="7016368" y="1196103"/>
            <a:ext cx="4896592" cy="504875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latin typeface="Consolas"/>
              </a:rPr>
              <a:t>‘use strict’</a:t>
            </a:r>
          </a:p>
          <a:p>
            <a:endParaRPr lang="en-US" sz="1600" dirty="0">
              <a:latin typeface="Consolas"/>
              <a:cs typeface="Calibri"/>
            </a:endParaRPr>
          </a:p>
          <a:p>
            <a:r>
              <a:rPr lang="en-US" sz="1600" dirty="0">
                <a:latin typeface="Consolas"/>
                <a:cs typeface="Calibri"/>
              </a:rPr>
              <a:t>const fs = require(‘fs’);</a:t>
            </a:r>
          </a:p>
          <a:p>
            <a:endParaRPr lang="en-US" sz="1600" dirty="0">
              <a:latin typeface="Consolas"/>
              <a:cs typeface="Calibri"/>
            </a:endParaRPr>
          </a:p>
          <a:p>
            <a:r>
              <a:rPr lang="en-US" sz="1600" dirty="0">
                <a:latin typeface="Consolas"/>
                <a:cs typeface="Calibri"/>
              </a:rPr>
              <a:t>// Open files, merge their content</a:t>
            </a:r>
          </a:p>
          <a:p>
            <a:r>
              <a:rPr lang="en-US" sz="1600" dirty="0">
                <a:latin typeface="Consolas"/>
                <a:cs typeface="Calibri"/>
              </a:rPr>
              <a:t>...</a:t>
            </a:r>
          </a:p>
          <a:p>
            <a:endParaRPr lang="en-US" sz="1600" dirty="0">
              <a:latin typeface="Consolas"/>
              <a:cs typeface="Calibri"/>
            </a:endParaRPr>
          </a:p>
          <a:p>
            <a:r>
              <a:rPr lang="en-US" sz="1600" dirty="0">
                <a:latin typeface="Consolas"/>
                <a:cs typeface="Calibri"/>
              </a:rPr>
              <a:t>// Write the output file</a:t>
            </a:r>
          </a:p>
          <a:p>
            <a:r>
              <a:rPr lang="en-US" sz="1600" dirty="0">
                <a:latin typeface="Consolas"/>
                <a:cs typeface="Calibri"/>
              </a:rPr>
              <a:t>...</a:t>
            </a:r>
          </a:p>
        </p:txBody>
      </p:sp>
      <p:sp>
        <p:nvSpPr>
          <p:cNvPr id="16" name="Rectangle 23">
            <a:extLst>
              <a:ext uri="{FF2B5EF4-FFF2-40B4-BE49-F238E27FC236}">
                <a16:creationId xmlns:a16="http://schemas.microsoft.com/office/drawing/2014/main" id="{38020F8D-62D7-B64E-8AB1-666D86D18D8F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Introduction</a:t>
            </a:r>
            <a:endParaRPr lang="es-ES" i="1" dirty="0"/>
          </a:p>
        </p:txBody>
      </p:sp>
      <p:pic>
        <p:nvPicPr>
          <p:cNvPr id="37445" name="Picture 581" descr="File icon - interface, archive, files and folders, file, document ...">
            <a:extLst>
              <a:ext uri="{FF2B5EF4-FFF2-40B4-BE49-F238E27FC236}">
                <a16:creationId xmlns:a16="http://schemas.microsoft.com/office/drawing/2014/main" id="{D3EFDA6D-802E-464F-A59C-2AE6EE7133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7045" y="4802517"/>
            <a:ext cx="510293" cy="510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581" descr="File icon - interface, archive, files and folders, file, document ...">
            <a:extLst>
              <a:ext uri="{FF2B5EF4-FFF2-40B4-BE49-F238E27FC236}">
                <a16:creationId xmlns:a16="http://schemas.microsoft.com/office/drawing/2014/main" id="{FF76771F-C84D-9B43-AF2F-241A1B47BA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7045" y="5346816"/>
            <a:ext cx="510293" cy="510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447" name="Picture 583" descr="Ilustración de Logotipo Vectorial Nodejs Programación De Backend ...">
            <a:extLst>
              <a:ext uri="{FF2B5EF4-FFF2-40B4-BE49-F238E27FC236}">
                <a16:creationId xmlns:a16="http://schemas.microsoft.com/office/drawing/2014/main" id="{BD6E52BB-4DAB-9143-84D5-41C0069FBC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8654" b="91827" l="9856" r="89904">
                        <a14:foregroundMark x1="49038" y1="8654" x2="49038" y2="8654"/>
                        <a14:foregroundMark x1="50000" y1="37019" x2="50000" y2="37019"/>
                        <a14:foregroundMark x1="50240" y1="91827" x2="50240" y2="9182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7441" y="5072253"/>
            <a:ext cx="431274" cy="431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581" descr="File icon - interface, archive, files and folders, file, document ...">
            <a:extLst>
              <a:ext uri="{FF2B5EF4-FFF2-40B4-BE49-F238E27FC236}">
                <a16:creationId xmlns:a16="http://schemas.microsoft.com/office/drawing/2014/main" id="{9EEC7F76-432A-8F4B-A8E3-D5AFA3BDA1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4867" y="5032496"/>
            <a:ext cx="510293" cy="510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Conector recto de flecha 2">
            <a:extLst>
              <a:ext uri="{FF2B5EF4-FFF2-40B4-BE49-F238E27FC236}">
                <a16:creationId xmlns:a16="http://schemas.microsoft.com/office/drawing/2014/main" id="{B73E53DB-6689-FB48-A83C-48D8AC3DF643}"/>
              </a:ext>
            </a:extLst>
          </p:cNvPr>
          <p:cNvCxnSpPr>
            <a:cxnSpLocks/>
            <a:stCxn id="37445" idx="3"/>
          </p:cNvCxnSpPr>
          <p:nvPr/>
        </p:nvCxnSpPr>
        <p:spPr>
          <a:xfrm>
            <a:off x="2447338" y="5057664"/>
            <a:ext cx="648200" cy="15189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4" name="Conector recto de flecha 23">
            <a:extLst>
              <a:ext uri="{FF2B5EF4-FFF2-40B4-BE49-F238E27FC236}">
                <a16:creationId xmlns:a16="http://schemas.microsoft.com/office/drawing/2014/main" id="{8C885DC3-CC0D-3247-8DEC-750337B52A8E}"/>
              </a:ext>
            </a:extLst>
          </p:cNvPr>
          <p:cNvCxnSpPr>
            <a:cxnSpLocks/>
            <a:stCxn id="17" idx="3"/>
          </p:cNvCxnSpPr>
          <p:nvPr/>
        </p:nvCxnSpPr>
        <p:spPr>
          <a:xfrm flipV="1">
            <a:off x="2447338" y="5397015"/>
            <a:ext cx="648200" cy="2049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7" name="Conector recto de flecha 26">
            <a:extLst>
              <a:ext uri="{FF2B5EF4-FFF2-40B4-BE49-F238E27FC236}">
                <a16:creationId xmlns:a16="http://schemas.microsoft.com/office/drawing/2014/main" id="{B02AECA9-19F0-5C43-84CB-BC75B5296AC2}"/>
              </a:ext>
            </a:extLst>
          </p:cNvPr>
          <p:cNvCxnSpPr>
            <a:cxnSpLocks/>
            <a:stCxn id="37447" idx="3"/>
            <a:endCxn id="19" idx="1"/>
          </p:cNvCxnSpPr>
          <p:nvPr/>
        </p:nvCxnSpPr>
        <p:spPr>
          <a:xfrm flipV="1">
            <a:off x="3588715" y="5287643"/>
            <a:ext cx="456152" cy="24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2823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Flow control mechanisms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3"/>
            <a:ext cx="6576947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i="1" dirty="0">
                <a:latin typeface="Century Gothic"/>
              </a:rPr>
              <a:t>Callbacks</a:t>
            </a:r>
            <a:r>
              <a:rPr lang="en-US" dirty="0">
                <a:latin typeface="Century Gothic"/>
              </a:rPr>
              <a:t> are the </a:t>
            </a:r>
            <a:r>
              <a:rPr lang="en-US" b="1" dirty="0">
                <a:latin typeface="Century Gothic"/>
              </a:rPr>
              <a:t>very first flow control mechanism</a:t>
            </a:r>
            <a:r>
              <a:rPr lang="en-US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r>
              <a:rPr lang="en-US" dirty="0">
                <a:latin typeface="Century Gothic"/>
              </a:rPr>
              <a:t>Implementing a </a:t>
            </a:r>
            <a:r>
              <a:rPr lang="en-US" i="1" dirty="0">
                <a:latin typeface="Century Gothic"/>
              </a:rPr>
              <a:t>callback</a:t>
            </a:r>
            <a:r>
              <a:rPr lang="en-US" dirty="0">
                <a:latin typeface="Century Gothic"/>
              </a:rPr>
              <a:t> is as easy as creating a </a:t>
            </a:r>
            <a:r>
              <a:rPr lang="en-US" b="1" dirty="0">
                <a:latin typeface="Century Gothic"/>
              </a:rPr>
              <a:t>function which will be ran</a:t>
            </a:r>
            <a:r>
              <a:rPr lang="en-US" dirty="0">
                <a:latin typeface="Century Gothic"/>
              </a:rPr>
              <a:t> by the </a:t>
            </a:r>
            <a:r>
              <a:rPr lang="en-US" i="1" dirty="0">
                <a:latin typeface="Century Gothic"/>
              </a:rPr>
              <a:t>event loop</a:t>
            </a:r>
            <a:r>
              <a:rPr lang="en-US" dirty="0">
                <a:latin typeface="Century Gothic"/>
              </a:rPr>
              <a:t> when the asynchronous </a:t>
            </a:r>
            <a:r>
              <a:rPr lang="en-US" b="1" dirty="0">
                <a:latin typeface="Century Gothic"/>
              </a:rPr>
              <a:t>task has been completed</a:t>
            </a:r>
            <a:r>
              <a:rPr lang="en-US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dirty="0">
                <a:latin typeface="Century Gothic"/>
              </a:rPr>
              <a:t>In order </a:t>
            </a:r>
            <a:r>
              <a:rPr lang="en-US" b="1" dirty="0">
                <a:latin typeface="Century Gothic"/>
              </a:rPr>
              <a:t>to keep code consistent, </a:t>
            </a:r>
            <a:r>
              <a:rPr lang="en-US" b="1" i="1" dirty="0">
                <a:latin typeface="Century Gothic"/>
              </a:rPr>
              <a:t>callbacks</a:t>
            </a:r>
            <a:r>
              <a:rPr lang="en-US" b="1" dirty="0">
                <a:latin typeface="Century Gothic"/>
              </a:rPr>
              <a:t> first parameter is the error object parameter </a:t>
            </a:r>
            <a:r>
              <a:rPr lang="en-US" dirty="0">
                <a:latin typeface="Century Gothic"/>
              </a:rPr>
              <a:t>- this means that in case the asynchronous task failed, the error object will provide detailed information on why; it will be </a:t>
            </a:r>
            <a:r>
              <a:rPr lang="en-US" i="1" dirty="0">
                <a:latin typeface="Century Gothic"/>
              </a:rPr>
              <a:t>null</a:t>
            </a:r>
            <a:r>
              <a:rPr lang="en-US" dirty="0">
                <a:latin typeface="Century Gothic"/>
              </a:rPr>
              <a:t> if the task ran successfully.</a:t>
            </a: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dirty="0">
                <a:latin typeface="Century Gothic"/>
              </a:rPr>
              <a:t>Other than the </a:t>
            </a:r>
            <a:r>
              <a:rPr lang="en-US" i="1" dirty="0">
                <a:latin typeface="Century Gothic"/>
              </a:rPr>
              <a:t>error parameter convention</a:t>
            </a:r>
            <a:r>
              <a:rPr lang="en-US" dirty="0">
                <a:latin typeface="Century Gothic"/>
              </a:rPr>
              <a:t>, what else do you think is a bit awkward on the example code?</a:t>
            </a: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  <a:p>
            <a:pPr marL="285750" indent="-285750">
              <a:spcBef>
                <a:spcPct val="20000"/>
              </a:spcBef>
              <a:buFontTx/>
              <a:buChar char="-"/>
            </a:pPr>
            <a:r>
              <a:rPr lang="en-US" i="1" dirty="0">
                <a:latin typeface="Century Gothic"/>
              </a:rPr>
              <a:t>callback hell</a:t>
            </a:r>
          </a:p>
          <a:p>
            <a:pPr marL="285750" indent="-285750">
              <a:spcBef>
                <a:spcPct val="20000"/>
              </a:spcBef>
              <a:buFontTx/>
              <a:buChar char="-"/>
            </a:pPr>
            <a:r>
              <a:rPr lang="en-US" i="1" dirty="0">
                <a:latin typeface="Century Gothic"/>
              </a:rPr>
              <a:t>callback function error convention</a:t>
            </a:r>
          </a:p>
          <a:p>
            <a:pPr marL="285750" indent="-285750">
              <a:spcBef>
                <a:spcPct val="20000"/>
              </a:spcBef>
              <a:buFontTx/>
              <a:buChar char="-"/>
            </a:pPr>
            <a:r>
              <a:rPr lang="en-US" i="1" dirty="0">
                <a:latin typeface="Century Gothic"/>
              </a:rPr>
              <a:t>awkward error handling</a:t>
            </a:r>
            <a:endParaRPr lang="en-US" dirty="0">
              <a:latin typeface="Century Gothic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AACDC37-73F8-46F5-AA87-000E75188D38}"/>
              </a:ext>
            </a:extLst>
          </p:cNvPr>
          <p:cNvSpPr/>
          <p:nvPr/>
        </p:nvSpPr>
        <p:spPr>
          <a:xfrm>
            <a:off x="7016368" y="1196103"/>
            <a:ext cx="4896592" cy="504875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latin typeface="Consolas"/>
              </a:rPr>
              <a:t>‘use strict’</a:t>
            </a:r>
          </a:p>
          <a:p>
            <a:endParaRPr lang="en-US" sz="900" dirty="0">
              <a:latin typeface="Consolas"/>
              <a:cs typeface="Calibri"/>
            </a:endParaRPr>
          </a:p>
          <a:p>
            <a:r>
              <a:rPr lang="en-US" sz="900" dirty="0">
                <a:latin typeface="Consolas"/>
                <a:cs typeface="Calibri"/>
              </a:rPr>
              <a:t>const fs = require(‘fs’);</a:t>
            </a:r>
          </a:p>
          <a:p>
            <a:r>
              <a:rPr lang="en-US" sz="900" dirty="0">
                <a:latin typeface="Consolas"/>
                <a:cs typeface="Calibri"/>
              </a:rPr>
              <a:t>const path = require(‘path’);</a:t>
            </a:r>
          </a:p>
          <a:p>
            <a:endParaRPr lang="en-US" sz="900" dirty="0">
              <a:latin typeface="Consolas"/>
              <a:cs typeface="Calibri"/>
            </a:endParaRPr>
          </a:p>
          <a:p>
            <a:r>
              <a:rPr lang="en-US" sz="900" dirty="0">
                <a:latin typeface="Consolas"/>
                <a:cs typeface="Calibri"/>
              </a:rPr>
              <a:t>// File paths</a:t>
            </a:r>
          </a:p>
          <a:p>
            <a:r>
              <a:rPr lang="en-US" sz="900" dirty="0">
                <a:latin typeface="Consolas"/>
                <a:cs typeface="Calibri"/>
              </a:rPr>
              <a:t>const input1Path = </a:t>
            </a:r>
            <a:r>
              <a:rPr lang="en-US" sz="900" dirty="0" err="1">
                <a:latin typeface="Consolas"/>
                <a:cs typeface="Calibri"/>
              </a:rPr>
              <a:t>path.join</a:t>
            </a:r>
            <a:r>
              <a:rPr lang="en-US" sz="900" dirty="0">
                <a:latin typeface="Consolas"/>
                <a:cs typeface="Calibri"/>
              </a:rPr>
              <a:t>(__</a:t>
            </a:r>
            <a:r>
              <a:rPr lang="en-US" sz="900" dirty="0" err="1">
                <a:latin typeface="Consolas"/>
                <a:cs typeface="Calibri"/>
              </a:rPr>
              <a:t>dirname</a:t>
            </a:r>
            <a:r>
              <a:rPr lang="en-US" sz="900" dirty="0">
                <a:latin typeface="Consolas"/>
                <a:cs typeface="Calibri"/>
              </a:rPr>
              <a:t>, ‘input1.txt’);</a:t>
            </a:r>
          </a:p>
          <a:p>
            <a:r>
              <a:rPr lang="en-US" sz="900" dirty="0">
                <a:latin typeface="Consolas"/>
                <a:cs typeface="Calibri"/>
              </a:rPr>
              <a:t>const input2Path = </a:t>
            </a:r>
            <a:r>
              <a:rPr lang="en-US" sz="900" dirty="0" err="1">
                <a:latin typeface="Consolas"/>
                <a:cs typeface="Calibri"/>
              </a:rPr>
              <a:t>path.join</a:t>
            </a:r>
            <a:r>
              <a:rPr lang="en-US" sz="900" dirty="0">
                <a:latin typeface="Consolas"/>
                <a:cs typeface="Calibri"/>
              </a:rPr>
              <a:t>(__</a:t>
            </a:r>
            <a:r>
              <a:rPr lang="en-US" sz="900" dirty="0" err="1">
                <a:latin typeface="Consolas"/>
                <a:cs typeface="Calibri"/>
              </a:rPr>
              <a:t>dirname</a:t>
            </a:r>
            <a:r>
              <a:rPr lang="en-US" sz="900" dirty="0">
                <a:latin typeface="Consolas"/>
                <a:cs typeface="Calibri"/>
              </a:rPr>
              <a:t>, ‘input2.txt’);</a:t>
            </a:r>
          </a:p>
          <a:p>
            <a:r>
              <a:rPr lang="en-US" sz="900" dirty="0">
                <a:latin typeface="Consolas"/>
                <a:cs typeface="Calibri"/>
              </a:rPr>
              <a:t>const </a:t>
            </a:r>
            <a:r>
              <a:rPr lang="en-US" sz="900" dirty="0" err="1">
                <a:latin typeface="Consolas"/>
                <a:cs typeface="Calibri"/>
              </a:rPr>
              <a:t>outputPath</a:t>
            </a:r>
            <a:r>
              <a:rPr lang="en-US" sz="900" dirty="0">
                <a:latin typeface="Consolas"/>
                <a:cs typeface="Calibri"/>
              </a:rPr>
              <a:t> = </a:t>
            </a:r>
            <a:r>
              <a:rPr lang="en-US" sz="900" dirty="0" err="1">
                <a:latin typeface="Consolas"/>
                <a:cs typeface="Calibri"/>
              </a:rPr>
              <a:t>path.join</a:t>
            </a:r>
            <a:r>
              <a:rPr lang="en-US" sz="900" dirty="0">
                <a:latin typeface="Consolas"/>
                <a:cs typeface="Calibri"/>
              </a:rPr>
              <a:t>(__</a:t>
            </a:r>
            <a:r>
              <a:rPr lang="en-US" sz="900" dirty="0" err="1">
                <a:latin typeface="Consolas"/>
                <a:cs typeface="Calibri"/>
              </a:rPr>
              <a:t>dirname</a:t>
            </a:r>
            <a:r>
              <a:rPr lang="en-US" sz="900" dirty="0">
                <a:latin typeface="Consolas"/>
                <a:cs typeface="Calibri"/>
              </a:rPr>
              <a:t>, ‘</a:t>
            </a:r>
            <a:r>
              <a:rPr lang="en-US" sz="900" dirty="0" err="1">
                <a:latin typeface="Consolas"/>
                <a:cs typeface="Calibri"/>
              </a:rPr>
              <a:t>output.txt</a:t>
            </a:r>
            <a:r>
              <a:rPr lang="en-US" sz="900" dirty="0">
                <a:latin typeface="Consolas"/>
                <a:cs typeface="Calibri"/>
              </a:rPr>
              <a:t>’);</a:t>
            </a:r>
          </a:p>
          <a:p>
            <a:endParaRPr lang="en-US" sz="900" dirty="0">
              <a:latin typeface="Consolas"/>
              <a:cs typeface="Calibri"/>
            </a:endParaRPr>
          </a:p>
          <a:p>
            <a:r>
              <a:rPr lang="en-US" sz="900" dirty="0">
                <a:latin typeface="Consolas"/>
                <a:cs typeface="Calibri"/>
              </a:rPr>
              <a:t>// Open files, merge their content</a:t>
            </a:r>
          </a:p>
          <a:p>
            <a:r>
              <a:rPr lang="en-US" sz="900" dirty="0" err="1">
                <a:latin typeface="Consolas"/>
                <a:cs typeface="Calibri"/>
              </a:rPr>
              <a:t>fs.readFile</a:t>
            </a:r>
            <a:r>
              <a:rPr lang="en-US" sz="900" dirty="0">
                <a:latin typeface="Consolas"/>
                <a:cs typeface="Calibri"/>
              </a:rPr>
              <a:t>(input1Path, (err1, data1) =&gt; {</a:t>
            </a:r>
          </a:p>
          <a:p>
            <a:r>
              <a:rPr lang="en-US" sz="900" dirty="0">
                <a:latin typeface="Consolas"/>
                <a:cs typeface="Calibri"/>
              </a:rPr>
              <a:t>  if (err1) {</a:t>
            </a:r>
          </a:p>
          <a:p>
            <a:r>
              <a:rPr lang="en-US" sz="900" dirty="0">
                <a:latin typeface="Consolas"/>
                <a:cs typeface="Calibri"/>
              </a:rPr>
              <a:t>    </a:t>
            </a:r>
            <a:r>
              <a:rPr lang="en-US" sz="900" dirty="0" err="1">
                <a:latin typeface="Consolas"/>
                <a:cs typeface="Calibri"/>
              </a:rPr>
              <a:t>console.error</a:t>
            </a:r>
            <a:r>
              <a:rPr lang="en-US" sz="900" dirty="0">
                <a:latin typeface="Consolas"/>
                <a:cs typeface="Calibri"/>
              </a:rPr>
              <a:t>(err1);</a:t>
            </a:r>
          </a:p>
          <a:p>
            <a:r>
              <a:rPr lang="en-US" sz="900" dirty="0">
                <a:latin typeface="Consolas"/>
                <a:cs typeface="Calibri"/>
              </a:rPr>
              <a:t>  } else {</a:t>
            </a:r>
          </a:p>
          <a:p>
            <a:r>
              <a:rPr lang="en-US" sz="900" dirty="0">
                <a:latin typeface="Consolas"/>
                <a:cs typeface="Calibri"/>
              </a:rPr>
              <a:t>    </a:t>
            </a:r>
            <a:r>
              <a:rPr lang="en-US" sz="900" dirty="0" err="1">
                <a:latin typeface="Consolas"/>
                <a:cs typeface="Calibri"/>
              </a:rPr>
              <a:t>fs.readFile</a:t>
            </a:r>
            <a:r>
              <a:rPr lang="en-US" sz="900" dirty="0">
                <a:latin typeface="Consolas"/>
                <a:cs typeface="Calibri"/>
              </a:rPr>
              <a:t>(input2Path, (err2, data2) =&gt; {</a:t>
            </a:r>
          </a:p>
          <a:p>
            <a:r>
              <a:rPr lang="en-US" sz="900" dirty="0">
                <a:latin typeface="Consolas"/>
                <a:cs typeface="Calibri"/>
              </a:rPr>
              <a:t>      if (err2) {</a:t>
            </a:r>
          </a:p>
          <a:p>
            <a:r>
              <a:rPr lang="en-US" sz="900" dirty="0">
                <a:latin typeface="Consolas"/>
                <a:cs typeface="Calibri"/>
              </a:rPr>
              <a:t>        </a:t>
            </a:r>
            <a:r>
              <a:rPr lang="en-US" sz="900" dirty="0" err="1">
                <a:latin typeface="Consolas"/>
                <a:cs typeface="Calibri"/>
              </a:rPr>
              <a:t>console.error</a:t>
            </a:r>
            <a:r>
              <a:rPr lang="en-US" sz="900" dirty="0">
                <a:latin typeface="Consolas"/>
                <a:cs typeface="Calibri"/>
              </a:rPr>
              <a:t>(err2);</a:t>
            </a:r>
          </a:p>
          <a:p>
            <a:r>
              <a:rPr lang="en-US" sz="900" dirty="0">
                <a:latin typeface="Consolas"/>
                <a:cs typeface="Calibri"/>
              </a:rPr>
              <a:t>      } else {</a:t>
            </a:r>
          </a:p>
          <a:p>
            <a:r>
              <a:rPr lang="en-US" sz="900" dirty="0">
                <a:latin typeface="Consolas"/>
                <a:cs typeface="Calibri"/>
              </a:rPr>
              <a:t>        const data = data1 + ‘\n’ + data2;</a:t>
            </a:r>
          </a:p>
          <a:p>
            <a:endParaRPr lang="en-US" sz="900" dirty="0">
              <a:latin typeface="Consolas"/>
              <a:cs typeface="Calibri"/>
            </a:endParaRPr>
          </a:p>
          <a:p>
            <a:r>
              <a:rPr lang="en-US" sz="900" dirty="0">
                <a:latin typeface="Consolas"/>
                <a:cs typeface="Calibri"/>
              </a:rPr>
              <a:t>        // Write the output file</a:t>
            </a:r>
          </a:p>
          <a:p>
            <a:r>
              <a:rPr lang="en-US" sz="900" dirty="0">
                <a:latin typeface="Consolas"/>
                <a:cs typeface="Calibri"/>
              </a:rPr>
              <a:t>        </a:t>
            </a:r>
            <a:r>
              <a:rPr lang="en-US" sz="900" dirty="0" err="1">
                <a:latin typeface="Consolas"/>
                <a:cs typeface="Calibri"/>
              </a:rPr>
              <a:t>fs.writeFile</a:t>
            </a:r>
            <a:r>
              <a:rPr lang="en-US" sz="900" dirty="0">
                <a:latin typeface="Consolas"/>
                <a:cs typeface="Calibri"/>
              </a:rPr>
              <a:t>(</a:t>
            </a:r>
            <a:r>
              <a:rPr lang="en-US" sz="900" dirty="0" err="1">
                <a:latin typeface="Consolas"/>
                <a:cs typeface="Calibri"/>
              </a:rPr>
              <a:t>outputPath</a:t>
            </a:r>
            <a:r>
              <a:rPr lang="en-US" sz="900" dirty="0">
                <a:latin typeface="Consolas"/>
                <a:cs typeface="Calibri"/>
              </a:rPr>
              <a:t>, data, (err) =&gt; {</a:t>
            </a:r>
          </a:p>
          <a:p>
            <a:r>
              <a:rPr lang="en-US" sz="900" dirty="0">
                <a:latin typeface="Consolas"/>
                <a:cs typeface="Calibri"/>
              </a:rPr>
              <a:t>          if (err) {</a:t>
            </a:r>
          </a:p>
          <a:p>
            <a:r>
              <a:rPr lang="en-US" sz="900" dirty="0">
                <a:latin typeface="Consolas"/>
                <a:cs typeface="Calibri"/>
              </a:rPr>
              <a:t>            </a:t>
            </a:r>
            <a:r>
              <a:rPr lang="en-US" sz="900" dirty="0" err="1">
                <a:latin typeface="Consolas"/>
                <a:cs typeface="Calibri"/>
              </a:rPr>
              <a:t>console.error</a:t>
            </a:r>
            <a:r>
              <a:rPr lang="en-US" sz="900" dirty="0">
                <a:latin typeface="Consolas"/>
                <a:cs typeface="Calibri"/>
              </a:rPr>
              <a:t>(`Unable to write file ${</a:t>
            </a:r>
            <a:r>
              <a:rPr lang="en-US" sz="900" dirty="0" err="1">
                <a:latin typeface="Consolas"/>
                <a:cs typeface="Calibri"/>
              </a:rPr>
              <a:t>outputPath</a:t>
            </a:r>
            <a:r>
              <a:rPr lang="en-US" sz="900" dirty="0">
                <a:latin typeface="Consolas"/>
                <a:cs typeface="Calibri"/>
              </a:rPr>
              <a:t>}`);</a:t>
            </a:r>
          </a:p>
          <a:p>
            <a:r>
              <a:rPr lang="en-US" sz="900" dirty="0">
                <a:latin typeface="Consolas"/>
                <a:cs typeface="Calibri"/>
              </a:rPr>
              <a:t>          } else {</a:t>
            </a:r>
          </a:p>
          <a:p>
            <a:r>
              <a:rPr lang="en-US" sz="900" dirty="0">
                <a:latin typeface="Consolas"/>
                <a:cs typeface="Calibri"/>
              </a:rPr>
              <a:t>            </a:t>
            </a:r>
            <a:r>
              <a:rPr lang="en-US" sz="900" dirty="0" err="1">
                <a:latin typeface="Consolas"/>
                <a:cs typeface="Calibri"/>
              </a:rPr>
              <a:t>console.log</a:t>
            </a:r>
            <a:r>
              <a:rPr lang="en-US" sz="900" dirty="0">
                <a:latin typeface="Consolas"/>
                <a:cs typeface="Calibri"/>
              </a:rPr>
              <a:t>(`File ${</a:t>
            </a:r>
            <a:r>
              <a:rPr lang="en-US" sz="900" dirty="0" err="1">
                <a:latin typeface="Consolas"/>
                <a:cs typeface="Calibri"/>
              </a:rPr>
              <a:t>outputPath</a:t>
            </a:r>
            <a:r>
              <a:rPr lang="en-US" sz="900" dirty="0">
                <a:latin typeface="Consolas"/>
                <a:cs typeface="Calibri"/>
              </a:rPr>
              <a:t>} written`);</a:t>
            </a:r>
          </a:p>
          <a:p>
            <a:r>
              <a:rPr lang="en-US" sz="900" dirty="0">
                <a:latin typeface="Consolas"/>
                <a:cs typeface="Calibri"/>
              </a:rPr>
              <a:t>          }</a:t>
            </a:r>
          </a:p>
          <a:p>
            <a:r>
              <a:rPr lang="en-US" sz="900" dirty="0">
                <a:latin typeface="Consolas"/>
                <a:cs typeface="Calibri"/>
              </a:rPr>
              <a:t>        });</a:t>
            </a:r>
          </a:p>
          <a:p>
            <a:r>
              <a:rPr lang="en-US" sz="900" dirty="0">
                <a:latin typeface="Consolas"/>
                <a:cs typeface="Calibri"/>
              </a:rPr>
              <a:t>      }</a:t>
            </a:r>
          </a:p>
          <a:p>
            <a:r>
              <a:rPr lang="en-US" sz="900" dirty="0">
                <a:latin typeface="Consolas"/>
                <a:cs typeface="Calibri"/>
              </a:rPr>
              <a:t>    });</a:t>
            </a:r>
          </a:p>
          <a:p>
            <a:r>
              <a:rPr lang="en-US" sz="900" dirty="0">
                <a:latin typeface="Consolas"/>
                <a:cs typeface="Calibri"/>
              </a:rPr>
              <a:t>  }</a:t>
            </a:r>
          </a:p>
          <a:p>
            <a:r>
              <a:rPr lang="en-US" sz="900" dirty="0">
                <a:latin typeface="Consolas"/>
                <a:cs typeface="Calibri"/>
              </a:rPr>
              <a:t>});</a:t>
            </a:r>
          </a:p>
        </p:txBody>
      </p:sp>
      <p:sp>
        <p:nvSpPr>
          <p:cNvPr id="16" name="Rectangle 23">
            <a:extLst>
              <a:ext uri="{FF2B5EF4-FFF2-40B4-BE49-F238E27FC236}">
                <a16:creationId xmlns:a16="http://schemas.microsoft.com/office/drawing/2014/main" id="{C0E05204-C85A-FB47-AC9F-D22B744DA0E7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Callbacks</a:t>
            </a:r>
            <a:endParaRPr lang="es-ES" i="1" dirty="0"/>
          </a:p>
        </p:txBody>
      </p:sp>
    </p:spTree>
    <p:extLst>
      <p:ext uri="{BB962C8B-B14F-4D97-AF65-F5344CB8AC3E}">
        <p14:creationId xmlns:p14="http://schemas.microsoft.com/office/powerpoint/2010/main" val="997789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Flow control mechanisms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3"/>
            <a:ext cx="6576947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i="1" dirty="0">
                <a:latin typeface="Century Gothic"/>
              </a:rPr>
              <a:t>Promises </a:t>
            </a:r>
            <a:r>
              <a:rPr lang="en-US" dirty="0">
                <a:latin typeface="Century Gothic"/>
              </a:rPr>
              <a:t>were designed to </a:t>
            </a:r>
            <a:r>
              <a:rPr lang="en-US" b="1" dirty="0">
                <a:latin typeface="Century Gothic"/>
              </a:rPr>
              <a:t>solve the problems existing on </a:t>
            </a:r>
            <a:r>
              <a:rPr lang="en-US" b="1" i="1" dirty="0">
                <a:latin typeface="Century Gothic"/>
              </a:rPr>
              <a:t>callbacks</a:t>
            </a:r>
            <a:r>
              <a:rPr lang="en-US" dirty="0">
                <a:latin typeface="Century Gothic"/>
              </a:rPr>
              <a:t>, aiming to allow developers to </a:t>
            </a:r>
            <a:r>
              <a:rPr lang="en-US" b="1" dirty="0">
                <a:latin typeface="Century Gothic"/>
              </a:rPr>
              <a:t>implement more readable code</a:t>
            </a:r>
            <a:r>
              <a:rPr lang="en-US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r>
              <a:rPr lang="en-US" i="1" dirty="0">
                <a:latin typeface="Century Gothic"/>
              </a:rPr>
              <a:t>Promises</a:t>
            </a:r>
            <a:r>
              <a:rPr lang="en-US" dirty="0">
                <a:latin typeface="Century Gothic"/>
              </a:rPr>
              <a:t> are </a:t>
            </a:r>
            <a:r>
              <a:rPr lang="en-US" b="1" i="1" dirty="0">
                <a:latin typeface="Century Gothic"/>
              </a:rPr>
              <a:t>proxy</a:t>
            </a:r>
            <a:r>
              <a:rPr lang="en-US" b="1" dirty="0">
                <a:latin typeface="Century Gothic"/>
              </a:rPr>
              <a:t> objects which represent a value unknown at a given time</a:t>
            </a:r>
            <a:r>
              <a:rPr lang="en-US" dirty="0">
                <a:latin typeface="Century Gothic"/>
              </a:rPr>
              <a:t>, which may resolve successfully, unsuccessfully or may never resolve at all.</a:t>
            </a: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dirty="0">
                <a:latin typeface="Century Gothic"/>
              </a:rPr>
              <a:t>While older versions of Node.js APIs do not feature a </a:t>
            </a:r>
            <a:r>
              <a:rPr lang="en-US" i="1" dirty="0">
                <a:latin typeface="Century Gothic"/>
              </a:rPr>
              <a:t>promise</a:t>
            </a:r>
            <a:r>
              <a:rPr lang="en-US" dirty="0">
                <a:latin typeface="Century Gothic"/>
              </a:rPr>
              <a:t> API, libraries such as </a:t>
            </a:r>
            <a:r>
              <a:rPr lang="en-US" b="1" i="1" dirty="0">
                <a:latin typeface="Century Gothic"/>
              </a:rPr>
              <a:t>bluebird</a:t>
            </a:r>
            <a:r>
              <a:rPr lang="en-US" dirty="0">
                <a:latin typeface="Century Gothic"/>
              </a:rPr>
              <a:t> provide tooling to generate “</a:t>
            </a:r>
            <a:r>
              <a:rPr lang="en-US" i="1" dirty="0" err="1">
                <a:latin typeface="Century Gothic"/>
              </a:rPr>
              <a:t>promisified</a:t>
            </a:r>
            <a:r>
              <a:rPr lang="en-US" dirty="0">
                <a:latin typeface="Century Gothic"/>
              </a:rPr>
              <a:t>” versions of the API - and also feature a better performant implementation of the </a:t>
            </a:r>
            <a:r>
              <a:rPr lang="en-US" i="1" dirty="0">
                <a:latin typeface="Century Gothic"/>
              </a:rPr>
              <a:t>Promises</a:t>
            </a:r>
            <a:r>
              <a:rPr lang="en-US" dirty="0">
                <a:latin typeface="Century Gothic"/>
              </a:rPr>
              <a:t> themselves.</a:t>
            </a: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dirty="0">
                <a:latin typeface="Century Gothic"/>
              </a:rPr>
              <a:t>The </a:t>
            </a:r>
            <a:r>
              <a:rPr lang="en-US" i="1" dirty="0">
                <a:latin typeface="Century Gothic"/>
              </a:rPr>
              <a:t>Promise</a:t>
            </a:r>
            <a:r>
              <a:rPr lang="en-US" dirty="0">
                <a:latin typeface="Century Gothic"/>
              </a:rPr>
              <a:t> object also includes the </a:t>
            </a:r>
            <a:r>
              <a:rPr lang="en-US" b="1" dirty="0">
                <a:latin typeface="Century Gothic"/>
              </a:rPr>
              <a:t>flow control methods </a:t>
            </a:r>
            <a:r>
              <a:rPr lang="en-US" b="1" i="1" dirty="0">
                <a:latin typeface="Century Gothic"/>
              </a:rPr>
              <a:t>all</a:t>
            </a:r>
            <a:r>
              <a:rPr lang="en-US" dirty="0">
                <a:latin typeface="Century Gothic"/>
              </a:rPr>
              <a:t> (generates either a </a:t>
            </a:r>
            <a:r>
              <a:rPr lang="en-US" i="1" dirty="0">
                <a:latin typeface="Century Gothic"/>
              </a:rPr>
              <a:t>Promise</a:t>
            </a:r>
            <a:r>
              <a:rPr lang="en-US" dirty="0">
                <a:latin typeface="Century Gothic"/>
              </a:rPr>
              <a:t> that succeeds when all </a:t>
            </a:r>
            <a:r>
              <a:rPr lang="en-US" i="1" dirty="0">
                <a:latin typeface="Century Gothic"/>
              </a:rPr>
              <a:t>Promises </a:t>
            </a:r>
            <a:r>
              <a:rPr lang="en-US" dirty="0">
                <a:latin typeface="Century Gothic"/>
              </a:rPr>
              <a:t>succeed or one that fails with the first rejection) </a:t>
            </a:r>
            <a:r>
              <a:rPr lang="en-US" b="1" dirty="0">
                <a:latin typeface="Century Gothic"/>
              </a:rPr>
              <a:t>and </a:t>
            </a:r>
            <a:r>
              <a:rPr lang="en-US" b="1" i="1" dirty="0">
                <a:latin typeface="Century Gothic"/>
              </a:rPr>
              <a:t>race </a:t>
            </a:r>
            <a:r>
              <a:rPr lang="en-US" dirty="0">
                <a:latin typeface="Century Gothic"/>
              </a:rPr>
              <a:t>(generates a new </a:t>
            </a:r>
            <a:r>
              <a:rPr lang="en-US" i="1" dirty="0">
                <a:latin typeface="Century Gothic"/>
              </a:rPr>
              <a:t>Promise</a:t>
            </a:r>
            <a:r>
              <a:rPr lang="en-US" dirty="0">
                <a:latin typeface="Century Gothic"/>
              </a:rPr>
              <a:t> that resolves to the first success/reject generated).</a:t>
            </a:r>
            <a:endParaRPr lang="en-US" i="1" dirty="0">
              <a:latin typeface="Century Gothic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AACDC37-73F8-46F5-AA87-000E75188D38}"/>
              </a:ext>
            </a:extLst>
          </p:cNvPr>
          <p:cNvSpPr/>
          <p:nvPr/>
        </p:nvSpPr>
        <p:spPr>
          <a:xfrm>
            <a:off x="7016368" y="1196103"/>
            <a:ext cx="4896592" cy="504875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latin typeface="Consolas"/>
              </a:rPr>
              <a:t>‘use strict’</a:t>
            </a:r>
          </a:p>
          <a:p>
            <a:endParaRPr lang="en-US" sz="900" dirty="0">
              <a:latin typeface="Consolas"/>
              <a:cs typeface="Calibri"/>
            </a:endParaRPr>
          </a:p>
          <a:p>
            <a:r>
              <a:rPr lang="en-US" sz="900" dirty="0">
                <a:latin typeface="Consolas"/>
                <a:cs typeface="Calibri"/>
              </a:rPr>
              <a:t>const fs = require(‘fs’)</a:t>
            </a:r>
            <a:r>
              <a:rPr lang="en-US" sz="900" b="1" dirty="0">
                <a:latin typeface="Consolas"/>
                <a:cs typeface="Calibri"/>
              </a:rPr>
              <a:t>.promises</a:t>
            </a:r>
            <a:r>
              <a:rPr lang="en-US" sz="900" dirty="0">
                <a:latin typeface="Consolas"/>
                <a:cs typeface="Calibri"/>
              </a:rPr>
              <a:t>;</a:t>
            </a:r>
          </a:p>
          <a:p>
            <a:r>
              <a:rPr lang="en-US" sz="900" dirty="0">
                <a:latin typeface="Consolas"/>
                <a:cs typeface="Calibri"/>
              </a:rPr>
              <a:t>const path = require(‘path’);</a:t>
            </a:r>
          </a:p>
          <a:p>
            <a:endParaRPr lang="en-US" sz="900" dirty="0">
              <a:latin typeface="Consolas"/>
              <a:cs typeface="Calibri"/>
            </a:endParaRPr>
          </a:p>
          <a:p>
            <a:r>
              <a:rPr lang="en-US" sz="900" dirty="0">
                <a:latin typeface="Consolas"/>
                <a:cs typeface="Calibri"/>
              </a:rPr>
              <a:t>// File paths</a:t>
            </a:r>
          </a:p>
          <a:p>
            <a:r>
              <a:rPr lang="en-US" sz="900" dirty="0">
                <a:latin typeface="Consolas"/>
                <a:cs typeface="Calibri"/>
              </a:rPr>
              <a:t>const input1Path = </a:t>
            </a:r>
            <a:r>
              <a:rPr lang="en-US" sz="900" dirty="0" err="1">
                <a:latin typeface="Consolas"/>
                <a:cs typeface="Calibri"/>
              </a:rPr>
              <a:t>path.join</a:t>
            </a:r>
            <a:r>
              <a:rPr lang="en-US" sz="900" dirty="0">
                <a:latin typeface="Consolas"/>
                <a:cs typeface="Calibri"/>
              </a:rPr>
              <a:t>(__</a:t>
            </a:r>
            <a:r>
              <a:rPr lang="en-US" sz="900" dirty="0" err="1">
                <a:latin typeface="Consolas"/>
                <a:cs typeface="Calibri"/>
              </a:rPr>
              <a:t>dirname</a:t>
            </a:r>
            <a:r>
              <a:rPr lang="en-US" sz="900" dirty="0">
                <a:latin typeface="Consolas"/>
                <a:cs typeface="Calibri"/>
              </a:rPr>
              <a:t>, ‘input1.txt’);</a:t>
            </a:r>
          </a:p>
          <a:p>
            <a:r>
              <a:rPr lang="en-US" sz="900" dirty="0">
                <a:latin typeface="Consolas"/>
                <a:cs typeface="Calibri"/>
              </a:rPr>
              <a:t>const input2Path = </a:t>
            </a:r>
            <a:r>
              <a:rPr lang="en-US" sz="900" dirty="0" err="1">
                <a:latin typeface="Consolas"/>
                <a:cs typeface="Calibri"/>
              </a:rPr>
              <a:t>path.join</a:t>
            </a:r>
            <a:r>
              <a:rPr lang="en-US" sz="900" dirty="0">
                <a:latin typeface="Consolas"/>
                <a:cs typeface="Calibri"/>
              </a:rPr>
              <a:t>(__</a:t>
            </a:r>
            <a:r>
              <a:rPr lang="en-US" sz="900" dirty="0" err="1">
                <a:latin typeface="Consolas"/>
                <a:cs typeface="Calibri"/>
              </a:rPr>
              <a:t>dirname</a:t>
            </a:r>
            <a:r>
              <a:rPr lang="en-US" sz="900" dirty="0">
                <a:latin typeface="Consolas"/>
                <a:cs typeface="Calibri"/>
              </a:rPr>
              <a:t>, ‘input2.txt’);</a:t>
            </a:r>
          </a:p>
          <a:p>
            <a:r>
              <a:rPr lang="en-US" sz="900" dirty="0">
                <a:latin typeface="Consolas"/>
                <a:cs typeface="Calibri"/>
              </a:rPr>
              <a:t>const </a:t>
            </a:r>
            <a:r>
              <a:rPr lang="en-US" sz="900" dirty="0" err="1">
                <a:latin typeface="Consolas"/>
                <a:cs typeface="Calibri"/>
              </a:rPr>
              <a:t>outputPath</a:t>
            </a:r>
            <a:r>
              <a:rPr lang="en-US" sz="900" dirty="0">
                <a:latin typeface="Consolas"/>
                <a:cs typeface="Calibri"/>
              </a:rPr>
              <a:t> = </a:t>
            </a:r>
            <a:r>
              <a:rPr lang="en-US" sz="900" dirty="0" err="1">
                <a:latin typeface="Consolas"/>
                <a:cs typeface="Calibri"/>
              </a:rPr>
              <a:t>path.join</a:t>
            </a:r>
            <a:r>
              <a:rPr lang="en-US" sz="900" dirty="0">
                <a:latin typeface="Consolas"/>
                <a:cs typeface="Calibri"/>
              </a:rPr>
              <a:t>(__</a:t>
            </a:r>
            <a:r>
              <a:rPr lang="en-US" sz="900" dirty="0" err="1">
                <a:latin typeface="Consolas"/>
                <a:cs typeface="Calibri"/>
              </a:rPr>
              <a:t>dirname</a:t>
            </a:r>
            <a:r>
              <a:rPr lang="en-US" sz="900" dirty="0">
                <a:latin typeface="Consolas"/>
                <a:cs typeface="Calibri"/>
              </a:rPr>
              <a:t>, ‘</a:t>
            </a:r>
            <a:r>
              <a:rPr lang="en-US" sz="900" dirty="0" err="1">
                <a:latin typeface="Consolas"/>
                <a:cs typeface="Calibri"/>
              </a:rPr>
              <a:t>output.txt</a:t>
            </a:r>
            <a:r>
              <a:rPr lang="en-US" sz="900" dirty="0">
                <a:latin typeface="Consolas"/>
                <a:cs typeface="Calibri"/>
              </a:rPr>
              <a:t>’);</a:t>
            </a:r>
          </a:p>
          <a:p>
            <a:endParaRPr lang="en-US" sz="900" dirty="0">
              <a:latin typeface="Consolas"/>
              <a:cs typeface="Calibri"/>
            </a:endParaRPr>
          </a:p>
          <a:p>
            <a:r>
              <a:rPr lang="en-US" sz="900" dirty="0">
                <a:latin typeface="Consolas"/>
                <a:cs typeface="Calibri"/>
              </a:rPr>
              <a:t>// Open files, merge their content</a:t>
            </a:r>
          </a:p>
          <a:p>
            <a:r>
              <a:rPr lang="en-US" sz="900" dirty="0">
                <a:latin typeface="Consolas"/>
                <a:cs typeface="Calibri"/>
              </a:rPr>
              <a:t>const </a:t>
            </a:r>
            <a:r>
              <a:rPr lang="en-US" sz="900" dirty="0" err="1">
                <a:latin typeface="Consolas"/>
                <a:cs typeface="Calibri"/>
              </a:rPr>
              <a:t>inputPaths</a:t>
            </a:r>
            <a:r>
              <a:rPr lang="en-US" sz="900" dirty="0">
                <a:latin typeface="Consolas"/>
                <a:cs typeface="Calibri"/>
              </a:rPr>
              <a:t> = [ input1Path, input2Path ];</a:t>
            </a:r>
          </a:p>
          <a:p>
            <a:r>
              <a:rPr lang="en-US" sz="900" dirty="0">
                <a:latin typeface="Consolas"/>
                <a:cs typeface="Calibri"/>
              </a:rPr>
              <a:t>const </a:t>
            </a:r>
            <a:r>
              <a:rPr lang="en-US" sz="900" dirty="0" err="1">
                <a:latin typeface="Consolas"/>
                <a:cs typeface="Calibri"/>
              </a:rPr>
              <a:t>readPromises</a:t>
            </a:r>
            <a:r>
              <a:rPr lang="en-US" sz="900" dirty="0">
                <a:latin typeface="Consolas"/>
                <a:cs typeface="Calibri"/>
              </a:rPr>
              <a:t> = </a:t>
            </a:r>
            <a:r>
              <a:rPr lang="en-US" sz="900" dirty="0" err="1">
                <a:latin typeface="Consolas"/>
                <a:cs typeface="Calibri"/>
              </a:rPr>
              <a:t>inputPaths.map</a:t>
            </a:r>
            <a:r>
              <a:rPr lang="en-US" sz="900" dirty="0">
                <a:latin typeface="Consolas"/>
                <a:cs typeface="Calibri"/>
              </a:rPr>
              <a:t>((</a:t>
            </a:r>
            <a:r>
              <a:rPr lang="en-US" sz="900" dirty="0" err="1">
                <a:latin typeface="Consolas"/>
                <a:cs typeface="Calibri"/>
              </a:rPr>
              <a:t>filePath</a:t>
            </a:r>
            <a:r>
              <a:rPr lang="en-US" sz="900" dirty="0">
                <a:latin typeface="Consolas"/>
                <a:cs typeface="Calibri"/>
              </a:rPr>
              <a:t>) =&gt; {</a:t>
            </a:r>
          </a:p>
          <a:p>
            <a:r>
              <a:rPr lang="en-US" sz="900" dirty="0">
                <a:latin typeface="Consolas"/>
                <a:cs typeface="Calibri"/>
              </a:rPr>
              <a:t>  return </a:t>
            </a:r>
            <a:r>
              <a:rPr lang="en-US" sz="900" dirty="0" err="1">
                <a:latin typeface="Consolas"/>
                <a:cs typeface="Calibri"/>
              </a:rPr>
              <a:t>fs.readFile</a:t>
            </a:r>
            <a:r>
              <a:rPr lang="en-US" sz="900" dirty="0">
                <a:latin typeface="Consolas"/>
                <a:cs typeface="Calibri"/>
              </a:rPr>
              <a:t>(</a:t>
            </a:r>
            <a:r>
              <a:rPr lang="en-US" sz="900" dirty="0" err="1">
                <a:latin typeface="Consolas"/>
                <a:cs typeface="Calibri"/>
              </a:rPr>
              <a:t>filePath</a:t>
            </a:r>
            <a:r>
              <a:rPr lang="en-US" sz="900" dirty="0">
                <a:latin typeface="Consolas"/>
                <a:cs typeface="Calibri"/>
              </a:rPr>
              <a:t>);</a:t>
            </a:r>
          </a:p>
          <a:p>
            <a:r>
              <a:rPr lang="en-US" sz="900" dirty="0">
                <a:latin typeface="Consolas"/>
                <a:cs typeface="Calibri"/>
              </a:rPr>
              <a:t>});</a:t>
            </a:r>
          </a:p>
          <a:p>
            <a:r>
              <a:rPr lang="en-US" sz="900" b="1" dirty="0" err="1">
                <a:latin typeface="Consolas"/>
                <a:cs typeface="Calibri"/>
              </a:rPr>
              <a:t>Promise.all</a:t>
            </a:r>
            <a:r>
              <a:rPr lang="en-US" sz="900" dirty="0">
                <a:latin typeface="Consolas"/>
                <a:cs typeface="Calibri"/>
              </a:rPr>
              <a:t>(</a:t>
            </a:r>
            <a:r>
              <a:rPr lang="en-US" sz="900" dirty="0" err="1">
                <a:latin typeface="Consolas"/>
                <a:cs typeface="Calibri"/>
              </a:rPr>
              <a:t>readPromises</a:t>
            </a:r>
            <a:r>
              <a:rPr lang="en-US" sz="900" dirty="0">
                <a:latin typeface="Consolas"/>
                <a:cs typeface="Calibri"/>
              </a:rPr>
              <a:t>)</a:t>
            </a:r>
          </a:p>
          <a:p>
            <a:r>
              <a:rPr lang="en-US" sz="900" dirty="0">
                <a:latin typeface="Consolas"/>
                <a:cs typeface="Calibri"/>
              </a:rPr>
              <a:t>  .then((</a:t>
            </a:r>
            <a:r>
              <a:rPr lang="en-US" sz="900" dirty="0" err="1">
                <a:latin typeface="Consolas"/>
                <a:cs typeface="Calibri"/>
              </a:rPr>
              <a:t>readData</a:t>
            </a:r>
            <a:r>
              <a:rPr lang="en-US" sz="900" dirty="0">
                <a:latin typeface="Consolas"/>
                <a:cs typeface="Calibri"/>
              </a:rPr>
              <a:t>) =&gt; {</a:t>
            </a:r>
          </a:p>
          <a:p>
            <a:r>
              <a:rPr lang="en-US" sz="900" dirty="0">
                <a:latin typeface="Consolas"/>
                <a:cs typeface="Calibri"/>
              </a:rPr>
              <a:t>    // Read data is an array of responses</a:t>
            </a:r>
          </a:p>
          <a:p>
            <a:r>
              <a:rPr lang="en-US" sz="900" dirty="0">
                <a:latin typeface="Consolas"/>
                <a:cs typeface="Calibri"/>
              </a:rPr>
              <a:t>    const data = </a:t>
            </a:r>
            <a:r>
              <a:rPr lang="en-US" sz="900" dirty="0" err="1">
                <a:latin typeface="Consolas"/>
                <a:cs typeface="Calibri"/>
              </a:rPr>
              <a:t>readData.reduce</a:t>
            </a:r>
            <a:r>
              <a:rPr lang="en-US" sz="900" dirty="0">
                <a:latin typeface="Consolas"/>
                <a:cs typeface="Calibri"/>
              </a:rPr>
              <a:t>((</a:t>
            </a:r>
            <a:r>
              <a:rPr lang="en-US" sz="900" dirty="0" err="1">
                <a:latin typeface="Consolas"/>
                <a:cs typeface="Calibri"/>
              </a:rPr>
              <a:t>aggr</a:t>
            </a:r>
            <a:r>
              <a:rPr lang="en-US" sz="900" dirty="0">
                <a:latin typeface="Consolas"/>
                <a:cs typeface="Calibri"/>
              </a:rPr>
              <a:t>, </a:t>
            </a:r>
            <a:r>
              <a:rPr lang="en-US" sz="900" dirty="0" err="1">
                <a:latin typeface="Consolas"/>
                <a:cs typeface="Calibri"/>
              </a:rPr>
              <a:t>curr</a:t>
            </a:r>
            <a:r>
              <a:rPr lang="en-US" sz="900" dirty="0">
                <a:latin typeface="Consolas"/>
                <a:cs typeface="Calibri"/>
              </a:rPr>
              <a:t>) =&gt; {</a:t>
            </a:r>
          </a:p>
          <a:p>
            <a:r>
              <a:rPr lang="en-US" sz="900" dirty="0">
                <a:latin typeface="Consolas"/>
                <a:cs typeface="Calibri"/>
              </a:rPr>
              <a:t>      return `${</a:t>
            </a:r>
            <a:r>
              <a:rPr lang="en-US" sz="900" dirty="0" err="1">
                <a:latin typeface="Consolas"/>
                <a:cs typeface="Calibri"/>
              </a:rPr>
              <a:t>aggr</a:t>
            </a:r>
            <a:r>
              <a:rPr lang="en-US" sz="900" dirty="0">
                <a:latin typeface="Consolas"/>
                <a:cs typeface="Calibri"/>
              </a:rPr>
              <a:t>}\n${</a:t>
            </a:r>
            <a:r>
              <a:rPr lang="en-US" sz="900" dirty="0" err="1">
                <a:latin typeface="Consolas"/>
                <a:cs typeface="Calibri"/>
              </a:rPr>
              <a:t>curr</a:t>
            </a:r>
            <a:r>
              <a:rPr lang="en-US" sz="900" dirty="0">
                <a:latin typeface="Consolas"/>
                <a:cs typeface="Calibri"/>
              </a:rPr>
              <a:t>}`;</a:t>
            </a:r>
          </a:p>
          <a:p>
            <a:r>
              <a:rPr lang="en-US" sz="900" dirty="0">
                <a:latin typeface="Consolas"/>
                <a:cs typeface="Calibri"/>
              </a:rPr>
              <a:t>    }, ‘’);</a:t>
            </a:r>
          </a:p>
          <a:p>
            <a:endParaRPr lang="en-US" sz="900" dirty="0">
              <a:latin typeface="Consolas"/>
              <a:cs typeface="Calibri"/>
            </a:endParaRPr>
          </a:p>
          <a:p>
            <a:r>
              <a:rPr lang="en-US" sz="900" dirty="0">
                <a:latin typeface="Consolas"/>
                <a:cs typeface="Calibri"/>
              </a:rPr>
              <a:t>    // Write the output file</a:t>
            </a:r>
          </a:p>
          <a:p>
            <a:r>
              <a:rPr lang="en-US" sz="900" dirty="0">
                <a:latin typeface="Consolas"/>
                <a:cs typeface="Calibri"/>
              </a:rPr>
              <a:t>    </a:t>
            </a:r>
            <a:r>
              <a:rPr lang="en-US" sz="900" dirty="0" err="1">
                <a:latin typeface="Consolas"/>
                <a:cs typeface="Calibri"/>
              </a:rPr>
              <a:t>fs.writeFile</a:t>
            </a:r>
            <a:r>
              <a:rPr lang="en-US" sz="900" dirty="0">
                <a:latin typeface="Consolas"/>
                <a:cs typeface="Calibri"/>
              </a:rPr>
              <a:t>(</a:t>
            </a:r>
            <a:r>
              <a:rPr lang="en-US" sz="900" dirty="0" err="1">
                <a:latin typeface="Consolas"/>
                <a:cs typeface="Calibri"/>
              </a:rPr>
              <a:t>outputPath</a:t>
            </a:r>
            <a:r>
              <a:rPr lang="en-US" sz="900" dirty="0">
                <a:latin typeface="Consolas"/>
                <a:cs typeface="Calibri"/>
              </a:rPr>
              <a:t>, data, (err) =&gt; {</a:t>
            </a:r>
          </a:p>
          <a:p>
            <a:r>
              <a:rPr lang="en-US" sz="900" dirty="0">
                <a:latin typeface="Consolas"/>
                <a:cs typeface="Calibri"/>
              </a:rPr>
              <a:t>      if (err) {</a:t>
            </a:r>
          </a:p>
          <a:p>
            <a:r>
              <a:rPr lang="en-US" sz="900" dirty="0">
                <a:latin typeface="Consolas"/>
                <a:cs typeface="Calibri"/>
              </a:rPr>
              <a:t>        </a:t>
            </a:r>
            <a:r>
              <a:rPr lang="en-US" sz="900" dirty="0" err="1">
                <a:latin typeface="Consolas"/>
                <a:cs typeface="Calibri"/>
              </a:rPr>
              <a:t>console.error</a:t>
            </a:r>
            <a:r>
              <a:rPr lang="en-US" sz="900" dirty="0">
                <a:latin typeface="Consolas"/>
                <a:cs typeface="Calibri"/>
              </a:rPr>
              <a:t>(`Unable to write file ${</a:t>
            </a:r>
            <a:r>
              <a:rPr lang="en-US" sz="900" dirty="0" err="1">
                <a:latin typeface="Consolas"/>
                <a:cs typeface="Calibri"/>
              </a:rPr>
              <a:t>outputPath</a:t>
            </a:r>
            <a:r>
              <a:rPr lang="en-US" sz="900" dirty="0">
                <a:latin typeface="Consolas"/>
                <a:cs typeface="Calibri"/>
              </a:rPr>
              <a:t>}`);</a:t>
            </a:r>
          </a:p>
          <a:p>
            <a:r>
              <a:rPr lang="en-US" sz="900" dirty="0">
                <a:latin typeface="Consolas"/>
                <a:cs typeface="Calibri"/>
              </a:rPr>
              <a:t>      } else {</a:t>
            </a:r>
          </a:p>
          <a:p>
            <a:r>
              <a:rPr lang="en-US" sz="900" dirty="0">
                <a:latin typeface="Consolas"/>
                <a:cs typeface="Calibri"/>
              </a:rPr>
              <a:t>        </a:t>
            </a:r>
            <a:r>
              <a:rPr lang="en-US" sz="900" dirty="0" err="1">
                <a:latin typeface="Consolas"/>
                <a:cs typeface="Calibri"/>
              </a:rPr>
              <a:t>console.log</a:t>
            </a:r>
            <a:r>
              <a:rPr lang="en-US" sz="900" dirty="0">
                <a:latin typeface="Consolas"/>
                <a:cs typeface="Calibri"/>
              </a:rPr>
              <a:t>(`File ${</a:t>
            </a:r>
            <a:r>
              <a:rPr lang="en-US" sz="900" dirty="0" err="1">
                <a:latin typeface="Consolas"/>
                <a:cs typeface="Calibri"/>
              </a:rPr>
              <a:t>outputPath</a:t>
            </a:r>
            <a:r>
              <a:rPr lang="en-US" sz="900" dirty="0">
                <a:latin typeface="Consolas"/>
                <a:cs typeface="Calibri"/>
              </a:rPr>
              <a:t>} written`);</a:t>
            </a:r>
          </a:p>
          <a:p>
            <a:r>
              <a:rPr lang="en-US" sz="900" dirty="0">
                <a:latin typeface="Consolas"/>
                <a:cs typeface="Calibri"/>
              </a:rPr>
              <a:t>      }</a:t>
            </a:r>
          </a:p>
          <a:p>
            <a:r>
              <a:rPr lang="en-US" sz="900" dirty="0">
                <a:latin typeface="Consolas"/>
                <a:cs typeface="Calibri"/>
              </a:rPr>
              <a:t>    });</a:t>
            </a:r>
          </a:p>
          <a:p>
            <a:r>
              <a:rPr lang="en-US" sz="900" dirty="0">
                <a:latin typeface="Consolas"/>
                <a:cs typeface="Calibri"/>
              </a:rPr>
              <a:t>  })</a:t>
            </a:r>
          </a:p>
          <a:p>
            <a:r>
              <a:rPr lang="en-US" sz="900" dirty="0">
                <a:latin typeface="Consolas"/>
                <a:cs typeface="Calibri"/>
              </a:rPr>
              <a:t>  .catch((err) =&gt; {</a:t>
            </a:r>
          </a:p>
          <a:p>
            <a:r>
              <a:rPr lang="en-US" sz="900" dirty="0">
                <a:latin typeface="Consolas"/>
                <a:cs typeface="Calibri"/>
              </a:rPr>
              <a:t>    </a:t>
            </a:r>
            <a:r>
              <a:rPr lang="en-US" sz="900" dirty="0" err="1">
                <a:latin typeface="Consolas"/>
                <a:cs typeface="Calibri"/>
              </a:rPr>
              <a:t>console.error</a:t>
            </a:r>
            <a:r>
              <a:rPr lang="en-US" sz="900" dirty="0">
                <a:latin typeface="Consolas"/>
                <a:cs typeface="Calibri"/>
              </a:rPr>
              <a:t>(‘Unable to merge files’, err);</a:t>
            </a:r>
          </a:p>
          <a:p>
            <a:r>
              <a:rPr lang="en-US" sz="900" dirty="0">
                <a:latin typeface="Consolas"/>
                <a:cs typeface="Calibri"/>
              </a:rPr>
              <a:t>  });</a:t>
            </a:r>
          </a:p>
        </p:txBody>
      </p:sp>
      <p:sp>
        <p:nvSpPr>
          <p:cNvPr id="16" name="Rectangle 23">
            <a:extLst>
              <a:ext uri="{FF2B5EF4-FFF2-40B4-BE49-F238E27FC236}">
                <a16:creationId xmlns:a16="http://schemas.microsoft.com/office/drawing/2014/main" id="{C0E05204-C85A-FB47-AC9F-D22B744DA0E7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Promises</a:t>
            </a:r>
            <a:endParaRPr lang="es-ES" i="1" dirty="0"/>
          </a:p>
        </p:txBody>
      </p:sp>
    </p:spTree>
    <p:extLst>
      <p:ext uri="{BB962C8B-B14F-4D97-AF65-F5344CB8AC3E}">
        <p14:creationId xmlns:p14="http://schemas.microsoft.com/office/powerpoint/2010/main" val="3567841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Flow control mechanisms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3"/>
            <a:ext cx="6576947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b="1" dirty="0">
                <a:latin typeface="Century Gothic"/>
              </a:rPr>
              <a:t>Our functions can use </a:t>
            </a:r>
            <a:r>
              <a:rPr lang="en-US" b="1" i="1" dirty="0">
                <a:latin typeface="Century Gothic"/>
              </a:rPr>
              <a:t>Promises</a:t>
            </a:r>
            <a:r>
              <a:rPr lang="en-US" dirty="0">
                <a:latin typeface="Century Gothic"/>
              </a:rPr>
              <a:t> by leveraging the </a:t>
            </a:r>
            <a:r>
              <a:rPr lang="en-US" i="1" dirty="0">
                <a:latin typeface="Century Gothic"/>
              </a:rPr>
              <a:t>Promise</a:t>
            </a:r>
            <a:r>
              <a:rPr lang="en-US" dirty="0">
                <a:latin typeface="Century Gothic"/>
              </a:rPr>
              <a:t> object itself – said object is provided on the </a:t>
            </a:r>
            <a:r>
              <a:rPr lang="en-US" i="1" dirty="0">
                <a:latin typeface="Century Gothic"/>
              </a:rPr>
              <a:t>Node.js</a:t>
            </a:r>
            <a:r>
              <a:rPr lang="en-US" dirty="0">
                <a:latin typeface="Century Gothic"/>
              </a:rPr>
              <a:t> context and does not require additional imports.</a:t>
            </a: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dirty="0">
                <a:latin typeface="Century Gothic"/>
              </a:rPr>
              <a:t>When </a:t>
            </a:r>
            <a:r>
              <a:rPr lang="en-US" b="1" dirty="0">
                <a:latin typeface="Century Gothic"/>
              </a:rPr>
              <a:t>we create a </a:t>
            </a:r>
            <a:r>
              <a:rPr lang="en-US" b="1" i="1" dirty="0">
                <a:latin typeface="Century Gothic"/>
              </a:rPr>
              <a:t>Promise</a:t>
            </a:r>
            <a:r>
              <a:rPr lang="en-US" b="1" dirty="0">
                <a:latin typeface="Century Gothic"/>
              </a:rPr>
              <a:t> object, we must provide a </a:t>
            </a:r>
            <a:r>
              <a:rPr lang="en-US" b="1" i="1" dirty="0">
                <a:latin typeface="Century Gothic"/>
              </a:rPr>
              <a:t>callback</a:t>
            </a:r>
            <a:r>
              <a:rPr lang="en-US" b="1" dirty="0">
                <a:latin typeface="Century Gothic"/>
              </a:rPr>
              <a:t> function </a:t>
            </a:r>
            <a:r>
              <a:rPr lang="en-US" dirty="0">
                <a:latin typeface="Century Gothic"/>
              </a:rPr>
              <a:t>which receives two functions as parameters:</a:t>
            </a:r>
          </a:p>
          <a:p>
            <a:pPr marL="285750" indent="-285750">
              <a:spcBef>
                <a:spcPct val="20000"/>
              </a:spcBef>
              <a:buFont typeface="Courier New" panose="02070309020205020404" pitchFamily="49" charset="0"/>
              <a:buChar char="o"/>
            </a:pPr>
            <a:r>
              <a:rPr lang="en-US" b="1" i="1" dirty="0">
                <a:latin typeface="Century Gothic"/>
              </a:rPr>
              <a:t>resolve</a:t>
            </a:r>
            <a:r>
              <a:rPr lang="en-US" dirty="0">
                <a:latin typeface="Century Gothic"/>
              </a:rPr>
              <a:t>: which will successfully resolve the </a:t>
            </a:r>
            <a:r>
              <a:rPr lang="en-US" i="1" dirty="0">
                <a:latin typeface="Century Gothic"/>
              </a:rPr>
              <a:t>Promise</a:t>
            </a:r>
            <a:r>
              <a:rPr lang="en-US" dirty="0">
                <a:latin typeface="Century Gothic"/>
              </a:rPr>
              <a:t> and will return the provided object/value.</a:t>
            </a:r>
          </a:p>
          <a:p>
            <a:pPr marL="285750" indent="-285750">
              <a:spcBef>
                <a:spcPct val="20000"/>
              </a:spcBef>
              <a:buFont typeface="Courier New" panose="02070309020205020404" pitchFamily="49" charset="0"/>
              <a:buChar char="o"/>
            </a:pPr>
            <a:r>
              <a:rPr lang="en-US" b="1" i="1" dirty="0">
                <a:latin typeface="Century Gothic"/>
              </a:rPr>
              <a:t>reject</a:t>
            </a:r>
            <a:r>
              <a:rPr lang="en-US" dirty="0">
                <a:latin typeface="Century Gothic"/>
              </a:rPr>
              <a:t>: which will resolve the </a:t>
            </a:r>
            <a:r>
              <a:rPr lang="en-US" i="1" dirty="0">
                <a:latin typeface="Century Gothic"/>
              </a:rPr>
              <a:t>Promise</a:t>
            </a:r>
            <a:r>
              <a:rPr lang="en-US" dirty="0">
                <a:latin typeface="Century Gothic"/>
              </a:rPr>
              <a:t> with an error, also returning the provided object/value.</a:t>
            </a: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dirty="0">
                <a:latin typeface="Century Gothic"/>
              </a:rPr>
              <a:t>Even in newer </a:t>
            </a:r>
            <a:r>
              <a:rPr lang="en-US" i="1" dirty="0">
                <a:latin typeface="Century Gothic"/>
              </a:rPr>
              <a:t>Node.js</a:t>
            </a:r>
            <a:r>
              <a:rPr lang="en-US" dirty="0">
                <a:latin typeface="Century Gothic"/>
              </a:rPr>
              <a:t> versions, manually creating and using </a:t>
            </a:r>
            <a:r>
              <a:rPr lang="en-US" i="1" dirty="0">
                <a:latin typeface="Century Gothic"/>
              </a:rPr>
              <a:t>Promises</a:t>
            </a:r>
            <a:r>
              <a:rPr lang="en-US" dirty="0">
                <a:latin typeface="Century Gothic"/>
              </a:rPr>
              <a:t> may come in handy to process </a:t>
            </a:r>
            <a:r>
              <a:rPr lang="en-US" i="1" dirty="0">
                <a:latin typeface="Century Gothic"/>
              </a:rPr>
              <a:t>events</a:t>
            </a:r>
            <a:r>
              <a:rPr lang="en-US" dirty="0">
                <a:latin typeface="Century Gothic"/>
              </a:rPr>
              <a:t>.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AACDC37-73F8-46F5-AA87-000E75188D38}"/>
              </a:ext>
            </a:extLst>
          </p:cNvPr>
          <p:cNvSpPr/>
          <p:nvPr/>
        </p:nvSpPr>
        <p:spPr>
          <a:xfrm>
            <a:off x="7016368" y="1196103"/>
            <a:ext cx="4896592" cy="504875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</a:rPr>
              <a:t>‘use strict’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Define the sample function</a:t>
            </a:r>
          </a:p>
          <a:p>
            <a:r>
              <a:rPr lang="en-US" sz="1200" dirty="0">
                <a:latin typeface="Consolas"/>
                <a:cs typeface="Calibri"/>
              </a:rPr>
              <a:t>const </a:t>
            </a:r>
            <a:r>
              <a:rPr lang="en-US" sz="1200" dirty="0" err="1">
                <a:latin typeface="Consolas"/>
                <a:cs typeface="Calibri"/>
              </a:rPr>
              <a:t>isEven</a:t>
            </a:r>
            <a:r>
              <a:rPr lang="en-US" sz="1200" dirty="0">
                <a:latin typeface="Consolas"/>
                <a:cs typeface="Calibri"/>
              </a:rPr>
              <a:t> = (data) =&gt; {</a:t>
            </a:r>
          </a:p>
          <a:p>
            <a:r>
              <a:rPr lang="en-US" sz="1200" dirty="0">
                <a:latin typeface="Consolas"/>
                <a:cs typeface="Calibri"/>
              </a:rPr>
              <a:t>  return new Promise((resolve, reject) =&gt; {</a:t>
            </a:r>
          </a:p>
          <a:p>
            <a:r>
              <a:rPr lang="en-US" sz="1200" dirty="0">
                <a:latin typeface="Consolas"/>
                <a:cs typeface="Calibri"/>
              </a:rPr>
              <a:t>    if (!</a:t>
            </a:r>
            <a:r>
              <a:rPr lang="en-US" sz="1200" dirty="0" err="1">
                <a:latin typeface="Consolas"/>
                <a:cs typeface="Calibri"/>
              </a:rPr>
              <a:t>isNaN</a:t>
            </a:r>
            <a:r>
              <a:rPr lang="en-US" sz="1200" dirty="0">
                <a:latin typeface="Consolas"/>
                <a:cs typeface="Calibri"/>
              </a:rPr>
              <a:t>(data) &amp;&amp; data % 2 === 0) {</a:t>
            </a:r>
          </a:p>
          <a:p>
            <a:r>
              <a:rPr lang="en-US" sz="1200" dirty="0">
                <a:latin typeface="Consolas"/>
                <a:cs typeface="Calibri"/>
              </a:rPr>
              <a:t>      resolve(`${data}: is even`);</a:t>
            </a:r>
          </a:p>
          <a:p>
            <a:r>
              <a:rPr lang="en-US" sz="1200" dirty="0">
                <a:latin typeface="Consolas"/>
                <a:cs typeface="Calibri"/>
              </a:rPr>
              <a:t>    } else {</a:t>
            </a:r>
          </a:p>
          <a:p>
            <a:r>
              <a:rPr lang="en-US" sz="1200" dirty="0">
                <a:latin typeface="Consolas"/>
                <a:cs typeface="Calibri"/>
              </a:rPr>
              <a:t>      reject(`${data} is either not a number or odd.`);</a:t>
            </a:r>
          </a:p>
          <a:p>
            <a:r>
              <a:rPr lang="en-US" sz="1200" dirty="0">
                <a:latin typeface="Consolas"/>
                <a:cs typeface="Calibri"/>
              </a:rPr>
              <a:t>    }</a:t>
            </a:r>
          </a:p>
          <a:p>
            <a:r>
              <a:rPr lang="en-US" sz="1200" dirty="0">
                <a:latin typeface="Consolas"/>
                <a:cs typeface="Calibri"/>
              </a:rPr>
              <a:t>  });</a:t>
            </a:r>
          </a:p>
          <a:p>
            <a:r>
              <a:rPr lang="en-US" sz="1200" dirty="0">
                <a:latin typeface="Consolas"/>
                <a:cs typeface="Calibri"/>
              </a:rPr>
              <a:t>}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Invoke the sample function</a:t>
            </a:r>
          </a:p>
          <a:p>
            <a:r>
              <a:rPr lang="en-US" sz="1200" dirty="0" err="1">
                <a:latin typeface="Consolas"/>
                <a:cs typeface="Calibri"/>
              </a:rPr>
              <a:t>isEven</a:t>
            </a:r>
            <a:r>
              <a:rPr lang="en-US" sz="1200" dirty="0">
                <a:latin typeface="Consolas"/>
                <a:cs typeface="Calibri"/>
              </a:rPr>
              <a:t>(4)</a:t>
            </a:r>
          </a:p>
          <a:p>
            <a:r>
              <a:rPr lang="en-US" sz="1200" dirty="0">
                <a:latin typeface="Consolas"/>
                <a:cs typeface="Calibri"/>
              </a:rPr>
              <a:t>  .then(</a:t>
            </a:r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)</a:t>
            </a:r>
          </a:p>
          <a:p>
            <a:r>
              <a:rPr lang="en-US" sz="1200" dirty="0">
                <a:latin typeface="Consolas"/>
                <a:cs typeface="Calibri"/>
              </a:rPr>
              <a:t>  .catch(</a:t>
            </a:r>
            <a:r>
              <a:rPr lang="en-US" sz="1200" dirty="0" err="1">
                <a:latin typeface="Consolas"/>
                <a:cs typeface="Calibri"/>
              </a:rPr>
              <a:t>console.error</a:t>
            </a:r>
            <a:r>
              <a:rPr lang="en-US" sz="1200" dirty="0">
                <a:latin typeface="Consolas"/>
                <a:cs typeface="Calibri"/>
              </a:rPr>
              <a:t>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 err="1">
                <a:latin typeface="Consolas"/>
                <a:cs typeface="Calibri"/>
              </a:rPr>
              <a:t>isEven</a:t>
            </a:r>
            <a:r>
              <a:rPr lang="en-US" sz="1200" dirty="0">
                <a:latin typeface="Consolas"/>
                <a:cs typeface="Calibri"/>
              </a:rPr>
              <a:t>(5)</a:t>
            </a:r>
          </a:p>
          <a:p>
            <a:r>
              <a:rPr lang="en-US" sz="1200" dirty="0">
                <a:latin typeface="Consolas"/>
                <a:cs typeface="Calibri"/>
              </a:rPr>
              <a:t>  .then(</a:t>
            </a:r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)</a:t>
            </a:r>
          </a:p>
          <a:p>
            <a:r>
              <a:rPr lang="en-US" sz="1200" dirty="0">
                <a:latin typeface="Consolas"/>
                <a:cs typeface="Calibri"/>
              </a:rPr>
              <a:t>  .catch(</a:t>
            </a:r>
            <a:r>
              <a:rPr lang="en-US" sz="1200" dirty="0" err="1">
                <a:latin typeface="Consolas"/>
                <a:cs typeface="Calibri"/>
              </a:rPr>
              <a:t>console.error</a:t>
            </a:r>
            <a:r>
              <a:rPr lang="en-US" sz="1200" dirty="0">
                <a:latin typeface="Consolas"/>
                <a:cs typeface="Calibri"/>
              </a:rPr>
              <a:t>);</a:t>
            </a:r>
          </a:p>
          <a:p>
            <a:endParaRPr lang="en-US" sz="1200" dirty="0">
              <a:latin typeface="Consolas"/>
              <a:cs typeface="Calibri"/>
            </a:endParaRPr>
          </a:p>
        </p:txBody>
      </p:sp>
      <p:sp>
        <p:nvSpPr>
          <p:cNvPr id="16" name="Rectangle 23">
            <a:extLst>
              <a:ext uri="{FF2B5EF4-FFF2-40B4-BE49-F238E27FC236}">
                <a16:creationId xmlns:a16="http://schemas.microsoft.com/office/drawing/2014/main" id="{C0E05204-C85A-FB47-AC9F-D22B744DA0E7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Promises</a:t>
            </a:r>
            <a:endParaRPr lang="es-ES" i="1" dirty="0"/>
          </a:p>
        </p:txBody>
      </p:sp>
    </p:spTree>
    <p:extLst>
      <p:ext uri="{BB962C8B-B14F-4D97-AF65-F5344CB8AC3E}">
        <p14:creationId xmlns:p14="http://schemas.microsoft.com/office/powerpoint/2010/main" val="2965492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Flow control mechanisms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3"/>
            <a:ext cx="6576947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dirty="0">
                <a:latin typeface="Century Gothic"/>
              </a:rPr>
              <a:t>The </a:t>
            </a:r>
            <a:r>
              <a:rPr lang="en-US" i="1" dirty="0">
                <a:latin typeface="Century Gothic"/>
              </a:rPr>
              <a:t>async</a:t>
            </a:r>
            <a:r>
              <a:rPr lang="en-US" dirty="0">
                <a:latin typeface="Century Gothic"/>
              </a:rPr>
              <a:t> / </a:t>
            </a:r>
            <a:r>
              <a:rPr lang="en-US" i="1" dirty="0">
                <a:latin typeface="Century Gothic"/>
              </a:rPr>
              <a:t>await </a:t>
            </a:r>
            <a:r>
              <a:rPr lang="en-US" dirty="0">
                <a:latin typeface="Century Gothic"/>
              </a:rPr>
              <a:t>constructs are </a:t>
            </a:r>
            <a:r>
              <a:rPr lang="en-US" b="1" dirty="0">
                <a:latin typeface="Century Gothic"/>
              </a:rPr>
              <a:t>built on top of </a:t>
            </a:r>
            <a:r>
              <a:rPr lang="en-US" b="1" i="1" dirty="0">
                <a:latin typeface="Century Gothic"/>
              </a:rPr>
              <a:t>generators</a:t>
            </a:r>
            <a:r>
              <a:rPr lang="en-US" b="1" dirty="0">
                <a:latin typeface="Century Gothic"/>
              </a:rPr>
              <a:t> and </a:t>
            </a:r>
            <a:r>
              <a:rPr lang="en-US" b="1" i="1" dirty="0">
                <a:latin typeface="Century Gothic"/>
              </a:rPr>
              <a:t>promises</a:t>
            </a:r>
            <a:r>
              <a:rPr lang="en-US" dirty="0">
                <a:latin typeface="Century Gothic"/>
              </a:rPr>
              <a:t> and are completely </a:t>
            </a:r>
            <a:r>
              <a:rPr lang="en-US" b="1" dirty="0">
                <a:latin typeface="Century Gothic"/>
              </a:rPr>
              <a:t>aimed to standardize code readability</a:t>
            </a:r>
            <a:r>
              <a:rPr lang="en-US" dirty="0">
                <a:latin typeface="Century Gothic"/>
              </a:rPr>
              <a:t>, allowing </a:t>
            </a:r>
            <a:r>
              <a:rPr lang="en-US" b="1" dirty="0">
                <a:latin typeface="Century Gothic"/>
              </a:rPr>
              <a:t>values to be read on a single line </a:t>
            </a:r>
            <a:r>
              <a:rPr lang="en-US" dirty="0">
                <a:latin typeface="Century Gothic"/>
              </a:rPr>
              <a:t>and errors to be managed with </a:t>
            </a:r>
            <a:r>
              <a:rPr lang="en-US" b="1" i="1" dirty="0">
                <a:latin typeface="Century Gothic"/>
              </a:rPr>
              <a:t>try/catch</a:t>
            </a:r>
            <a:r>
              <a:rPr lang="en-US" b="1" dirty="0">
                <a:latin typeface="Century Gothic"/>
              </a:rPr>
              <a:t> blocks</a:t>
            </a:r>
            <a:r>
              <a:rPr lang="en-US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b="1" i="1" dirty="0">
                <a:latin typeface="Century Gothic"/>
              </a:rPr>
              <a:t>async</a:t>
            </a:r>
            <a:r>
              <a:rPr lang="en-US" b="1" dirty="0">
                <a:latin typeface="Century Gothic"/>
              </a:rPr>
              <a:t> is used to wrap functions</a:t>
            </a:r>
            <a:r>
              <a:rPr lang="en-US" dirty="0">
                <a:latin typeface="Century Gothic"/>
              </a:rPr>
              <a:t>, making them generate a </a:t>
            </a:r>
            <a:r>
              <a:rPr lang="en-US" i="1" dirty="0">
                <a:latin typeface="Century Gothic"/>
              </a:rPr>
              <a:t>Promise</a:t>
            </a:r>
            <a:r>
              <a:rPr lang="en-US" dirty="0">
                <a:latin typeface="Century Gothic"/>
              </a:rPr>
              <a:t> that </a:t>
            </a:r>
            <a:r>
              <a:rPr lang="en-US" i="1" dirty="0">
                <a:latin typeface="Century Gothic"/>
              </a:rPr>
              <a:t>resolves</a:t>
            </a:r>
            <a:r>
              <a:rPr lang="en-US" dirty="0">
                <a:latin typeface="Century Gothic"/>
              </a:rPr>
              <a:t> anything it returns and </a:t>
            </a:r>
            <a:r>
              <a:rPr lang="en-US" i="1" dirty="0">
                <a:latin typeface="Century Gothic"/>
              </a:rPr>
              <a:t>rejects</a:t>
            </a:r>
            <a:r>
              <a:rPr lang="en-US" dirty="0">
                <a:latin typeface="Century Gothic"/>
              </a:rPr>
              <a:t> in case any </a:t>
            </a:r>
            <a:r>
              <a:rPr lang="en-US" i="1" dirty="0">
                <a:latin typeface="Century Gothic"/>
              </a:rPr>
              <a:t>Error</a:t>
            </a:r>
            <a:r>
              <a:rPr lang="en-US" dirty="0">
                <a:latin typeface="Century Gothic"/>
              </a:rPr>
              <a:t> happens.</a:t>
            </a:r>
          </a:p>
          <a:p>
            <a:pPr>
              <a:spcBef>
                <a:spcPct val="20000"/>
              </a:spcBef>
            </a:pPr>
            <a:endParaRPr lang="en-US" i="1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b="1" i="1" dirty="0">
                <a:latin typeface="Century Gothic"/>
              </a:rPr>
              <a:t>await</a:t>
            </a:r>
            <a:r>
              <a:rPr lang="en-US" i="1" dirty="0">
                <a:latin typeface="Century Gothic"/>
              </a:rPr>
              <a:t> </a:t>
            </a:r>
            <a:r>
              <a:rPr lang="en-US" dirty="0">
                <a:latin typeface="Century Gothic"/>
              </a:rPr>
              <a:t>must be used within an </a:t>
            </a:r>
            <a:r>
              <a:rPr lang="en-US" i="1" dirty="0">
                <a:latin typeface="Century Gothic"/>
              </a:rPr>
              <a:t>async function</a:t>
            </a:r>
            <a:r>
              <a:rPr lang="en-US" dirty="0">
                <a:latin typeface="Century Gothic"/>
              </a:rPr>
              <a:t> scope, and it </a:t>
            </a:r>
            <a:r>
              <a:rPr lang="en-US" b="1" dirty="0">
                <a:latin typeface="Century Gothic"/>
              </a:rPr>
              <a:t>handles </a:t>
            </a:r>
            <a:r>
              <a:rPr lang="en-US" b="1" i="1" dirty="0">
                <a:latin typeface="Century Gothic"/>
              </a:rPr>
              <a:t>Promise</a:t>
            </a:r>
            <a:r>
              <a:rPr lang="en-US" b="1" dirty="0">
                <a:latin typeface="Century Gothic"/>
              </a:rPr>
              <a:t> success/error</a:t>
            </a:r>
            <a:r>
              <a:rPr lang="en-US" dirty="0">
                <a:latin typeface="Century Gothic"/>
              </a:rPr>
              <a:t>: success values are returned as a normal function while errors are handled by </a:t>
            </a:r>
            <a:r>
              <a:rPr lang="en-US" i="1" dirty="0">
                <a:latin typeface="Century Gothic"/>
              </a:rPr>
              <a:t>try/catch</a:t>
            </a:r>
            <a:r>
              <a:rPr lang="en-US" dirty="0">
                <a:latin typeface="Century Gothic"/>
              </a:rPr>
              <a:t> blocks.</a:t>
            </a: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i="1" dirty="0">
                <a:latin typeface="Century Gothic"/>
              </a:rPr>
              <a:t>Promise</a:t>
            </a:r>
            <a:r>
              <a:rPr lang="en-US" dirty="0">
                <a:latin typeface="Century Gothic"/>
              </a:rPr>
              <a:t> flow control functions can be used in conjunction with </a:t>
            </a:r>
            <a:r>
              <a:rPr lang="en-US" i="1" dirty="0">
                <a:latin typeface="Century Gothic"/>
              </a:rPr>
              <a:t>async/await</a:t>
            </a:r>
            <a:r>
              <a:rPr lang="en-US" dirty="0">
                <a:latin typeface="Century Gothic"/>
              </a:rPr>
              <a:t>.</a:t>
            </a:r>
            <a:endParaRPr lang="en-US" i="1" dirty="0">
              <a:latin typeface="Century Gothic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AACDC37-73F8-46F5-AA87-000E75188D38}"/>
              </a:ext>
            </a:extLst>
          </p:cNvPr>
          <p:cNvSpPr/>
          <p:nvPr/>
        </p:nvSpPr>
        <p:spPr>
          <a:xfrm>
            <a:off x="7016368" y="1196103"/>
            <a:ext cx="4896592" cy="504875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latin typeface="Consolas"/>
              </a:rPr>
              <a:t>‘use strict’</a:t>
            </a:r>
          </a:p>
          <a:p>
            <a:endParaRPr lang="en-US" sz="900" dirty="0">
              <a:latin typeface="Consolas"/>
              <a:cs typeface="Calibri"/>
            </a:endParaRPr>
          </a:p>
          <a:p>
            <a:r>
              <a:rPr lang="en-US" sz="900" dirty="0">
                <a:latin typeface="Consolas"/>
                <a:cs typeface="Calibri"/>
              </a:rPr>
              <a:t>const fs = require(‘fs’)</a:t>
            </a:r>
            <a:r>
              <a:rPr lang="en-US" sz="900" b="1" dirty="0">
                <a:latin typeface="Consolas"/>
                <a:cs typeface="Calibri"/>
              </a:rPr>
              <a:t>.promises</a:t>
            </a:r>
            <a:r>
              <a:rPr lang="en-US" sz="900" dirty="0">
                <a:latin typeface="Consolas"/>
                <a:cs typeface="Calibri"/>
              </a:rPr>
              <a:t>;</a:t>
            </a:r>
          </a:p>
          <a:p>
            <a:r>
              <a:rPr lang="en-US" sz="900" dirty="0">
                <a:latin typeface="Consolas"/>
                <a:cs typeface="Calibri"/>
              </a:rPr>
              <a:t>const path = require(‘path’);</a:t>
            </a:r>
          </a:p>
          <a:p>
            <a:endParaRPr lang="en-US" sz="900" dirty="0">
              <a:latin typeface="Consolas"/>
              <a:cs typeface="Calibri"/>
            </a:endParaRPr>
          </a:p>
          <a:p>
            <a:r>
              <a:rPr lang="en-US" sz="900" dirty="0">
                <a:latin typeface="Consolas"/>
                <a:cs typeface="Calibri"/>
              </a:rPr>
              <a:t>// File paths</a:t>
            </a:r>
          </a:p>
          <a:p>
            <a:r>
              <a:rPr lang="en-US" sz="900" dirty="0">
                <a:latin typeface="Consolas"/>
                <a:cs typeface="Calibri"/>
              </a:rPr>
              <a:t>const input1Path = </a:t>
            </a:r>
            <a:r>
              <a:rPr lang="en-US" sz="900" dirty="0" err="1">
                <a:latin typeface="Consolas"/>
                <a:cs typeface="Calibri"/>
              </a:rPr>
              <a:t>path.join</a:t>
            </a:r>
            <a:r>
              <a:rPr lang="en-US" sz="900" dirty="0">
                <a:latin typeface="Consolas"/>
                <a:cs typeface="Calibri"/>
              </a:rPr>
              <a:t>(__</a:t>
            </a:r>
            <a:r>
              <a:rPr lang="en-US" sz="900" dirty="0" err="1">
                <a:latin typeface="Consolas"/>
                <a:cs typeface="Calibri"/>
              </a:rPr>
              <a:t>dirname</a:t>
            </a:r>
            <a:r>
              <a:rPr lang="en-US" sz="900" dirty="0">
                <a:latin typeface="Consolas"/>
                <a:cs typeface="Calibri"/>
              </a:rPr>
              <a:t>, ‘input1.txt’);</a:t>
            </a:r>
          </a:p>
          <a:p>
            <a:r>
              <a:rPr lang="en-US" sz="900" dirty="0">
                <a:latin typeface="Consolas"/>
                <a:cs typeface="Calibri"/>
              </a:rPr>
              <a:t>const input2Path = </a:t>
            </a:r>
            <a:r>
              <a:rPr lang="en-US" sz="900" dirty="0" err="1">
                <a:latin typeface="Consolas"/>
                <a:cs typeface="Calibri"/>
              </a:rPr>
              <a:t>path.join</a:t>
            </a:r>
            <a:r>
              <a:rPr lang="en-US" sz="900" dirty="0">
                <a:latin typeface="Consolas"/>
                <a:cs typeface="Calibri"/>
              </a:rPr>
              <a:t>(__</a:t>
            </a:r>
            <a:r>
              <a:rPr lang="en-US" sz="900" dirty="0" err="1">
                <a:latin typeface="Consolas"/>
                <a:cs typeface="Calibri"/>
              </a:rPr>
              <a:t>dirname</a:t>
            </a:r>
            <a:r>
              <a:rPr lang="en-US" sz="900" dirty="0">
                <a:latin typeface="Consolas"/>
                <a:cs typeface="Calibri"/>
              </a:rPr>
              <a:t>, ‘input2.txt’);</a:t>
            </a:r>
          </a:p>
          <a:p>
            <a:r>
              <a:rPr lang="en-US" sz="900" dirty="0">
                <a:latin typeface="Consolas"/>
                <a:cs typeface="Calibri"/>
              </a:rPr>
              <a:t>const </a:t>
            </a:r>
            <a:r>
              <a:rPr lang="en-US" sz="900" dirty="0" err="1">
                <a:latin typeface="Consolas"/>
                <a:cs typeface="Calibri"/>
              </a:rPr>
              <a:t>outputPath</a:t>
            </a:r>
            <a:r>
              <a:rPr lang="en-US" sz="900" dirty="0">
                <a:latin typeface="Consolas"/>
                <a:cs typeface="Calibri"/>
              </a:rPr>
              <a:t> = </a:t>
            </a:r>
            <a:r>
              <a:rPr lang="en-US" sz="900" dirty="0" err="1">
                <a:latin typeface="Consolas"/>
                <a:cs typeface="Calibri"/>
              </a:rPr>
              <a:t>path.join</a:t>
            </a:r>
            <a:r>
              <a:rPr lang="en-US" sz="900" dirty="0">
                <a:latin typeface="Consolas"/>
                <a:cs typeface="Calibri"/>
              </a:rPr>
              <a:t>(__</a:t>
            </a:r>
            <a:r>
              <a:rPr lang="en-US" sz="900" dirty="0" err="1">
                <a:latin typeface="Consolas"/>
                <a:cs typeface="Calibri"/>
              </a:rPr>
              <a:t>dirname</a:t>
            </a:r>
            <a:r>
              <a:rPr lang="en-US" sz="900" dirty="0">
                <a:latin typeface="Consolas"/>
                <a:cs typeface="Calibri"/>
              </a:rPr>
              <a:t>, ‘</a:t>
            </a:r>
            <a:r>
              <a:rPr lang="en-US" sz="900" dirty="0" err="1">
                <a:latin typeface="Consolas"/>
                <a:cs typeface="Calibri"/>
              </a:rPr>
              <a:t>output.txt</a:t>
            </a:r>
            <a:r>
              <a:rPr lang="en-US" sz="900" dirty="0">
                <a:latin typeface="Consolas"/>
                <a:cs typeface="Calibri"/>
              </a:rPr>
              <a:t>’);</a:t>
            </a:r>
          </a:p>
          <a:p>
            <a:endParaRPr lang="en-US" sz="900" dirty="0">
              <a:latin typeface="Consolas"/>
              <a:cs typeface="Calibri"/>
            </a:endParaRPr>
          </a:p>
          <a:p>
            <a:r>
              <a:rPr lang="en-US" sz="900" dirty="0">
                <a:latin typeface="Consolas"/>
                <a:cs typeface="Calibri"/>
              </a:rPr>
              <a:t>// Open files, merge their content</a:t>
            </a:r>
          </a:p>
          <a:p>
            <a:r>
              <a:rPr lang="en-US" sz="900" dirty="0">
                <a:latin typeface="Consolas"/>
                <a:cs typeface="Calibri"/>
              </a:rPr>
              <a:t>const main = async (</a:t>
            </a:r>
            <a:r>
              <a:rPr lang="en-US" sz="900" dirty="0" err="1">
                <a:latin typeface="Consolas"/>
                <a:cs typeface="Calibri"/>
              </a:rPr>
              <a:t>inputPaths</a:t>
            </a:r>
            <a:r>
              <a:rPr lang="en-US" sz="900" dirty="0">
                <a:latin typeface="Consolas"/>
                <a:cs typeface="Calibri"/>
              </a:rPr>
              <a:t>) =&gt; {</a:t>
            </a:r>
          </a:p>
          <a:p>
            <a:r>
              <a:rPr lang="en-US" sz="900" dirty="0">
                <a:latin typeface="Consolas"/>
                <a:cs typeface="Calibri"/>
              </a:rPr>
              <a:t>  const </a:t>
            </a:r>
            <a:r>
              <a:rPr lang="en-US" sz="900" dirty="0" err="1">
                <a:latin typeface="Consolas"/>
                <a:cs typeface="Calibri"/>
              </a:rPr>
              <a:t>readPromises</a:t>
            </a:r>
            <a:r>
              <a:rPr lang="en-US" sz="900" dirty="0">
                <a:latin typeface="Consolas"/>
                <a:cs typeface="Calibri"/>
              </a:rPr>
              <a:t> = </a:t>
            </a:r>
            <a:r>
              <a:rPr lang="en-US" sz="900" dirty="0" err="1">
                <a:latin typeface="Consolas"/>
                <a:cs typeface="Calibri"/>
              </a:rPr>
              <a:t>inputPaths.map</a:t>
            </a:r>
            <a:r>
              <a:rPr lang="en-US" sz="900" dirty="0">
                <a:latin typeface="Consolas"/>
                <a:cs typeface="Calibri"/>
              </a:rPr>
              <a:t>((</a:t>
            </a:r>
            <a:r>
              <a:rPr lang="en-US" sz="900" dirty="0" err="1">
                <a:latin typeface="Consolas"/>
                <a:cs typeface="Calibri"/>
              </a:rPr>
              <a:t>filePath</a:t>
            </a:r>
            <a:r>
              <a:rPr lang="en-US" sz="900" dirty="0">
                <a:latin typeface="Consolas"/>
                <a:cs typeface="Calibri"/>
              </a:rPr>
              <a:t>) =&gt; {</a:t>
            </a:r>
          </a:p>
          <a:p>
            <a:r>
              <a:rPr lang="en-US" sz="900" dirty="0">
                <a:latin typeface="Consolas"/>
                <a:cs typeface="Calibri"/>
              </a:rPr>
              <a:t>    return </a:t>
            </a:r>
            <a:r>
              <a:rPr lang="en-US" sz="900" dirty="0" err="1">
                <a:latin typeface="Consolas"/>
                <a:cs typeface="Calibri"/>
              </a:rPr>
              <a:t>fs.readFile</a:t>
            </a:r>
            <a:r>
              <a:rPr lang="en-US" sz="900" dirty="0">
                <a:latin typeface="Consolas"/>
                <a:cs typeface="Calibri"/>
              </a:rPr>
              <a:t>(</a:t>
            </a:r>
            <a:r>
              <a:rPr lang="en-US" sz="900" dirty="0" err="1">
                <a:latin typeface="Consolas"/>
                <a:cs typeface="Calibri"/>
              </a:rPr>
              <a:t>filePath</a:t>
            </a:r>
            <a:r>
              <a:rPr lang="en-US" sz="900" dirty="0">
                <a:latin typeface="Consolas"/>
                <a:cs typeface="Calibri"/>
              </a:rPr>
              <a:t>);</a:t>
            </a:r>
          </a:p>
          <a:p>
            <a:r>
              <a:rPr lang="en-US" sz="900" dirty="0">
                <a:latin typeface="Consolas"/>
                <a:cs typeface="Calibri"/>
              </a:rPr>
              <a:t>  });</a:t>
            </a:r>
          </a:p>
          <a:p>
            <a:endParaRPr lang="en-US" sz="900" dirty="0">
              <a:latin typeface="Consolas"/>
              <a:cs typeface="Calibri"/>
            </a:endParaRPr>
          </a:p>
          <a:p>
            <a:r>
              <a:rPr lang="en-US" sz="900" b="1" dirty="0">
                <a:latin typeface="Consolas"/>
                <a:cs typeface="Calibri"/>
              </a:rPr>
              <a:t>  let </a:t>
            </a:r>
            <a:r>
              <a:rPr lang="en-US" sz="900" b="1" dirty="0" err="1">
                <a:latin typeface="Consolas"/>
                <a:cs typeface="Calibri"/>
              </a:rPr>
              <a:t>returnMessage</a:t>
            </a:r>
            <a:r>
              <a:rPr lang="en-US" sz="900" b="1" dirty="0">
                <a:latin typeface="Consolas"/>
                <a:cs typeface="Calibri"/>
              </a:rPr>
              <a:t>;</a:t>
            </a:r>
          </a:p>
          <a:p>
            <a:r>
              <a:rPr lang="en-US" sz="900" b="1" dirty="0">
                <a:latin typeface="Consolas"/>
                <a:cs typeface="Calibri"/>
              </a:rPr>
              <a:t>  </a:t>
            </a:r>
          </a:p>
          <a:p>
            <a:r>
              <a:rPr lang="en-US" sz="900" b="1" dirty="0">
                <a:latin typeface="Consolas"/>
                <a:cs typeface="Calibri"/>
              </a:rPr>
              <a:t>  try {</a:t>
            </a:r>
          </a:p>
          <a:p>
            <a:r>
              <a:rPr lang="en-US" sz="900" b="1" dirty="0">
                <a:latin typeface="Consolas"/>
                <a:cs typeface="Calibri"/>
              </a:rPr>
              <a:t>    const </a:t>
            </a:r>
            <a:r>
              <a:rPr lang="en-US" sz="900" b="1" dirty="0" err="1">
                <a:latin typeface="Consolas"/>
                <a:cs typeface="Calibri"/>
              </a:rPr>
              <a:t>readData</a:t>
            </a:r>
            <a:r>
              <a:rPr lang="en-US" sz="900" b="1" dirty="0">
                <a:latin typeface="Consolas"/>
                <a:cs typeface="Calibri"/>
              </a:rPr>
              <a:t> = await </a:t>
            </a:r>
            <a:r>
              <a:rPr lang="en-US" sz="900" b="1" dirty="0" err="1">
                <a:latin typeface="Consolas"/>
                <a:cs typeface="Calibri"/>
              </a:rPr>
              <a:t>Promise.all</a:t>
            </a:r>
            <a:r>
              <a:rPr lang="en-US" sz="900" b="1" dirty="0">
                <a:latin typeface="Consolas"/>
                <a:cs typeface="Calibri"/>
              </a:rPr>
              <a:t>(</a:t>
            </a:r>
            <a:r>
              <a:rPr lang="en-US" sz="900" b="1" dirty="0" err="1">
                <a:latin typeface="Consolas"/>
                <a:cs typeface="Calibri"/>
              </a:rPr>
              <a:t>readPromises</a:t>
            </a:r>
            <a:r>
              <a:rPr lang="en-US" sz="900" b="1" dirty="0">
                <a:latin typeface="Consolas"/>
                <a:cs typeface="Calibri"/>
              </a:rPr>
              <a:t>);</a:t>
            </a:r>
          </a:p>
          <a:p>
            <a:r>
              <a:rPr lang="en-US" sz="900" b="1" dirty="0">
                <a:latin typeface="Consolas"/>
                <a:cs typeface="Calibri"/>
              </a:rPr>
              <a:t>    const data = </a:t>
            </a:r>
            <a:r>
              <a:rPr lang="en-US" sz="900" b="1" dirty="0" err="1">
                <a:latin typeface="Consolas"/>
                <a:cs typeface="Calibri"/>
              </a:rPr>
              <a:t>readData.reduce</a:t>
            </a:r>
            <a:r>
              <a:rPr lang="en-US" sz="900" b="1" dirty="0">
                <a:latin typeface="Consolas"/>
                <a:cs typeface="Calibri"/>
              </a:rPr>
              <a:t>((</a:t>
            </a:r>
            <a:r>
              <a:rPr lang="en-US" sz="900" b="1" dirty="0" err="1">
                <a:latin typeface="Consolas"/>
                <a:cs typeface="Calibri"/>
              </a:rPr>
              <a:t>aggr</a:t>
            </a:r>
            <a:r>
              <a:rPr lang="en-US" sz="900" b="1" dirty="0">
                <a:latin typeface="Consolas"/>
                <a:cs typeface="Calibri"/>
              </a:rPr>
              <a:t>, </a:t>
            </a:r>
            <a:r>
              <a:rPr lang="en-US" sz="900" b="1" dirty="0" err="1">
                <a:latin typeface="Consolas"/>
                <a:cs typeface="Calibri"/>
              </a:rPr>
              <a:t>curr</a:t>
            </a:r>
            <a:r>
              <a:rPr lang="en-US" sz="900" b="1" dirty="0">
                <a:latin typeface="Consolas"/>
                <a:cs typeface="Calibri"/>
              </a:rPr>
              <a:t>) =&gt; {</a:t>
            </a:r>
          </a:p>
          <a:p>
            <a:r>
              <a:rPr lang="en-US" sz="900" b="1" dirty="0">
                <a:latin typeface="Consolas"/>
                <a:cs typeface="Calibri"/>
              </a:rPr>
              <a:t>      return `${</a:t>
            </a:r>
            <a:r>
              <a:rPr lang="en-US" sz="900" b="1" dirty="0" err="1">
                <a:latin typeface="Consolas"/>
                <a:cs typeface="Calibri"/>
              </a:rPr>
              <a:t>aggr</a:t>
            </a:r>
            <a:r>
              <a:rPr lang="en-US" sz="900" b="1" dirty="0">
                <a:latin typeface="Consolas"/>
                <a:cs typeface="Calibri"/>
              </a:rPr>
              <a:t>}\n${</a:t>
            </a:r>
            <a:r>
              <a:rPr lang="en-US" sz="900" b="1" dirty="0" err="1">
                <a:latin typeface="Consolas"/>
                <a:cs typeface="Calibri"/>
              </a:rPr>
              <a:t>curr</a:t>
            </a:r>
            <a:r>
              <a:rPr lang="en-US" sz="900" b="1" dirty="0">
                <a:latin typeface="Consolas"/>
                <a:cs typeface="Calibri"/>
              </a:rPr>
              <a:t>}`;</a:t>
            </a:r>
          </a:p>
          <a:p>
            <a:r>
              <a:rPr lang="en-US" sz="900" b="1" dirty="0">
                <a:latin typeface="Consolas"/>
                <a:cs typeface="Calibri"/>
              </a:rPr>
              <a:t>    }, ‘’);</a:t>
            </a:r>
          </a:p>
          <a:p>
            <a:r>
              <a:rPr lang="en-US" sz="900" b="1" dirty="0">
                <a:latin typeface="Consolas"/>
                <a:cs typeface="Calibri"/>
              </a:rPr>
              <a:t>    await </a:t>
            </a:r>
            <a:r>
              <a:rPr lang="en-US" sz="900" b="1" dirty="0" err="1">
                <a:latin typeface="Consolas"/>
                <a:cs typeface="Calibri"/>
              </a:rPr>
              <a:t>fs.writeFile</a:t>
            </a:r>
            <a:r>
              <a:rPr lang="en-US" sz="900" b="1" dirty="0">
                <a:latin typeface="Consolas"/>
                <a:cs typeface="Calibri"/>
              </a:rPr>
              <a:t>(</a:t>
            </a:r>
            <a:r>
              <a:rPr lang="en-US" sz="900" b="1" dirty="0" err="1">
                <a:latin typeface="Consolas"/>
                <a:cs typeface="Calibri"/>
              </a:rPr>
              <a:t>outputPath</a:t>
            </a:r>
            <a:r>
              <a:rPr lang="en-US" sz="900" b="1" dirty="0">
                <a:latin typeface="Consolas"/>
                <a:cs typeface="Calibri"/>
              </a:rPr>
              <a:t>, data);</a:t>
            </a:r>
          </a:p>
          <a:p>
            <a:r>
              <a:rPr lang="en-US" sz="900" b="1" dirty="0">
                <a:latin typeface="Consolas"/>
                <a:cs typeface="Calibri"/>
              </a:rPr>
              <a:t>    </a:t>
            </a:r>
            <a:r>
              <a:rPr lang="en-US" sz="900" b="1" dirty="0" err="1">
                <a:latin typeface="Consolas"/>
                <a:cs typeface="Calibri"/>
              </a:rPr>
              <a:t>returnMessage</a:t>
            </a:r>
            <a:r>
              <a:rPr lang="en-US" sz="900" b="1" dirty="0">
                <a:latin typeface="Consolas"/>
                <a:cs typeface="Calibri"/>
              </a:rPr>
              <a:t> = `File ${</a:t>
            </a:r>
            <a:r>
              <a:rPr lang="en-US" sz="900" b="1" dirty="0" err="1">
                <a:latin typeface="Consolas"/>
                <a:cs typeface="Calibri"/>
              </a:rPr>
              <a:t>outputPath</a:t>
            </a:r>
            <a:r>
              <a:rPr lang="en-US" sz="900" b="1" dirty="0">
                <a:latin typeface="Consolas"/>
                <a:cs typeface="Calibri"/>
              </a:rPr>
              <a:t>} written`;</a:t>
            </a:r>
          </a:p>
          <a:p>
            <a:r>
              <a:rPr lang="en-US" sz="900" b="1" dirty="0">
                <a:latin typeface="Consolas"/>
                <a:cs typeface="Calibri"/>
              </a:rPr>
              <a:t>  } catch (err) {</a:t>
            </a:r>
          </a:p>
          <a:p>
            <a:r>
              <a:rPr lang="en-US" sz="900" b="1" dirty="0">
                <a:latin typeface="Consolas"/>
                <a:cs typeface="Calibri"/>
              </a:rPr>
              <a:t>    </a:t>
            </a:r>
            <a:r>
              <a:rPr lang="en-US" sz="900" b="1" dirty="0" err="1">
                <a:latin typeface="Consolas"/>
                <a:cs typeface="Calibri"/>
              </a:rPr>
              <a:t>returnMessage</a:t>
            </a:r>
            <a:r>
              <a:rPr lang="en-US" sz="900" b="1" dirty="0">
                <a:latin typeface="Consolas"/>
                <a:cs typeface="Calibri"/>
              </a:rPr>
              <a:t> = ‘Unable to read or merge data’;</a:t>
            </a:r>
          </a:p>
          <a:p>
            <a:r>
              <a:rPr lang="en-US" sz="900" b="1" dirty="0">
                <a:latin typeface="Consolas"/>
                <a:cs typeface="Calibri"/>
              </a:rPr>
              <a:t>  }</a:t>
            </a:r>
          </a:p>
          <a:p>
            <a:endParaRPr lang="en-US" sz="900" b="1" dirty="0">
              <a:latin typeface="Consolas"/>
              <a:cs typeface="Calibri"/>
            </a:endParaRPr>
          </a:p>
          <a:p>
            <a:r>
              <a:rPr lang="en-US" sz="900" b="1" dirty="0">
                <a:latin typeface="Consolas"/>
                <a:cs typeface="Calibri"/>
              </a:rPr>
              <a:t>  return </a:t>
            </a:r>
            <a:r>
              <a:rPr lang="en-US" sz="900" b="1" dirty="0" err="1">
                <a:latin typeface="Consolas"/>
                <a:cs typeface="Calibri"/>
              </a:rPr>
              <a:t>returnMessage</a:t>
            </a:r>
            <a:r>
              <a:rPr lang="en-US" sz="900" b="1" dirty="0">
                <a:latin typeface="Consolas"/>
                <a:cs typeface="Calibri"/>
              </a:rPr>
              <a:t>;</a:t>
            </a:r>
          </a:p>
          <a:p>
            <a:r>
              <a:rPr lang="en-US" sz="900" dirty="0">
                <a:latin typeface="Consolas"/>
                <a:cs typeface="Calibri"/>
              </a:rPr>
              <a:t>}</a:t>
            </a:r>
          </a:p>
          <a:p>
            <a:endParaRPr lang="en-US" sz="900" dirty="0">
              <a:latin typeface="Consolas"/>
              <a:cs typeface="Calibri"/>
            </a:endParaRPr>
          </a:p>
          <a:p>
            <a:r>
              <a:rPr lang="en-US" sz="900" dirty="0">
                <a:latin typeface="Consolas"/>
                <a:cs typeface="Calibri"/>
              </a:rPr>
              <a:t>main([input1Path, input2Path])</a:t>
            </a:r>
          </a:p>
          <a:p>
            <a:r>
              <a:rPr lang="en-US" sz="900" dirty="0">
                <a:latin typeface="Consolas"/>
                <a:cs typeface="Calibri"/>
              </a:rPr>
              <a:t>  .then(</a:t>
            </a:r>
            <a:r>
              <a:rPr lang="en-US" sz="900" dirty="0" err="1">
                <a:latin typeface="Consolas"/>
                <a:cs typeface="Calibri"/>
              </a:rPr>
              <a:t>console.log</a:t>
            </a:r>
            <a:r>
              <a:rPr lang="en-US" sz="900" dirty="0">
                <a:latin typeface="Consolas"/>
                <a:cs typeface="Calibri"/>
              </a:rPr>
              <a:t>)</a:t>
            </a:r>
          </a:p>
          <a:p>
            <a:r>
              <a:rPr lang="en-US" sz="900" dirty="0">
                <a:latin typeface="Consolas"/>
                <a:cs typeface="Calibri"/>
              </a:rPr>
              <a:t>  .catch(</a:t>
            </a:r>
            <a:r>
              <a:rPr lang="en-US" sz="900" dirty="0" err="1">
                <a:latin typeface="Consolas"/>
                <a:cs typeface="Calibri"/>
              </a:rPr>
              <a:t>console.error</a:t>
            </a:r>
            <a:r>
              <a:rPr lang="en-US" sz="900" dirty="0">
                <a:latin typeface="Consolas"/>
                <a:cs typeface="Calibri"/>
              </a:rPr>
              <a:t>);</a:t>
            </a:r>
          </a:p>
        </p:txBody>
      </p:sp>
      <p:sp>
        <p:nvSpPr>
          <p:cNvPr id="16" name="Rectangle 23">
            <a:extLst>
              <a:ext uri="{FF2B5EF4-FFF2-40B4-BE49-F238E27FC236}">
                <a16:creationId xmlns:a16="http://schemas.microsoft.com/office/drawing/2014/main" id="{C0E05204-C85A-FB47-AC9F-D22B744DA0E7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async / await</a:t>
            </a:r>
            <a:endParaRPr lang="es-ES" i="1" dirty="0"/>
          </a:p>
        </p:txBody>
      </p:sp>
    </p:spTree>
    <p:extLst>
      <p:ext uri="{BB962C8B-B14F-4D97-AF65-F5344CB8AC3E}">
        <p14:creationId xmlns:p14="http://schemas.microsoft.com/office/powerpoint/2010/main" val="1287204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>
                <a:solidFill>
                  <a:schemeClr val="bg1"/>
                </a:solidFill>
                <a:latin typeface="Century Gothic"/>
              </a:rPr>
              <a:t>Introduction</a:t>
            </a:r>
            <a:endParaRPr lang="es-ES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3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400" b="1" dirty="0">
                <a:latin typeface="Century Gothic"/>
              </a:rPr>
              <a:t>History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sz="2000" dirty="0">
                <a:latin typeface="Century Gothic"/>
              </a:rPr>
              <a:t>Created in 1995 by </a:t>
            </a:r>
            <a:r>
              <a:rPr lang="en-US" sz="2000" i="1" dirty="0" err="1">
                <a:latin typeface="Century Gothic"/>
              </a:rPr>
              <a:t>NetScape</a:t>
            </a:r>
            <a:r>
              <a:rPr lang="en-US" sz="2000" i="1" dirty="0">
                <a:latin typeface="Century Gothic"/>
              </a:rPr>
              <a:t> Communications</a:t>
            </a:r>
            <a:r>
              <a:rPr lang="en-US" sz="2000" dirty="0">
                <a:latin typeface="Century Gothic"/>
              </a:rPr>
              <a:t>.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sz="2000" dirty="0">
                <a:latin typeface="Century Gothic"/>
              </a:rPr>
              <a:t>Aimed to improve user experience (lower latency, higher response ) by</a:t>
            </a:r>
            <a:br>
              <a:rPr lang="en-US" sz="2000" dirty="0">
                <a:latin typeface="Century Gothic"/>
              </a:rPr>
            </a:br>
            <a:r>
              <a:rPr lang="en-US" sz="2000" dirty="0">
                <a:latin typeface="Century Gothic"/>
              </a:rPr>
              <a:t>executing code on the users’ browser.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sz="2000" i="1" dirty="0" err="1">
                <a:latin typeface="Century Gothic"/>
              </a:rPr>
              <a:t>NetScape</a:t>
            </a:r>
            <a:r>
              <a:rPr lang="en-US" sz="2000" dirty="0">
                <a:latin typeface="Century Gothic"/>
              </a:rPr>
              <a:t> sent the language specification to the </a:t>
            </a:r>
            <a:r>
              <a:rPr lang="en-US" sz="2000" i="1" dirty="0">
                <a:latin typeface="Century Gothic"/>
              </a:rPr>
              <a:t>ECMA*</a:t>
            </a:r>
            <a:r>
              <a:rPr lang="en-US" sz="2000" dirty="0">
                <a:latin typeface="Century Gothic"/>
              </a:rPr>
              <a:t> in order to create </a:t>
            </a:r>
            <a:br>
              <a:rPr lang="en-US" sz="2000" dirty="0">
                <a:latin typeface="Century Gothic"/>
              </a:rPr>
            </a:br>
            <a:r>
              <a:rPr lang="en-US" sz="2000" dirty="0">
                <a:latin typeface="Century Gothic"/>
              </a:rPr>
              <a:t>a standard that would be used on all the existing browsers – </a:t>
            </a:r>
            <a:r>
              <a:rPr lang="en-US" sz="2000" i="1" dirty="0">
                <a:latin typeface="Century Gothic"/>
              </a:rPr>
              <a:t>ECMAScript</a:t>
            </a:r>
            <a:r>
              <a:rPr lang="en-US" sz="2000" dirty="0">
                <a:latin typeface="Century Gothic"/>
              </a:rPr>
              <a:t> was born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2400" b="1" dirty="0">
                <a:latin typeface="Century Gothic"/>
              </a:rPr>
              <a:t>Features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sz="2000" b="1" dirty="0">
                <a:latin typeface="Century Gothic"/>
              </a:rPr>
              <a:t>Single threaded</a:t>
            </a:r>
            <a:r>
              <a:rPr lang="en-US" sz="2000" dirty="0">
                <a:latin typeface="Century Gothic"/>
              </a:rPr>
              <a:t>: uses an </a:t>
            </a:r>
            <a:r>
              <a:rPr lang="en-US" sz="2000" i="1" dirty="0">
                <a:latin typeface="Century Gothic"/>
              </a:rPr>
              <a:t>event loop </a:t>
            </a:r>
            <a:r>
              <a:rPr lang="en-US" sz="2000" dirty="0">
                <a:latin typeface="Century Gothic"/>
              </a:rPr>
              <a:t>to process complex blocking tasks.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sz="2000" b="1" dirty="0">
                <a:latin typeface="Century Gothic"/>
              </a:rPr>
              <a:t>Object oriented</a:t>
            </a:r>
            <a:r>
              <a:rPr lang="en-US" sz="2000" dirty="0">
                <a:latin typeface="Century Gothic"/>
              </a:rPr>
              <a:t>: leverages a </a:t>
            </a:r>
            <a:r>
              <a:rPr lang="en-US" sz="2000" i="1" dirty="0">
                <a:latin typeface="Century Gothic"/>
              </a:rPr>
              <a:t>prototype</a:t>
            </a:r>
            <a:r>
              <a:rPr lang="en-US" sz="2000" dirty="0">
                <a:latin typeface="Century Gothic"/>
              </a:rPr>
              <a:t> system to create </a:t>
            </a:r>
            <a:r>
              <a:rPr lang="en-US" sz="2000" i="1" dirty="0">
                <a:latin typeface="Century Gothic"/>
              </a:rPr>
              <a:t>objects</a:t>
            </a:r>
            <a:r>
              <a:rPr lang="en-US" sz="2000" dirty="0">
                <a:latin typeface="Century Gothic"/>
              </a:rPr>
              <a:t>.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sz="2000" b="1" dirty="0">
                <a:latin typeface="Century Gothic"/>
              </a:rPr>
              <a:t>Weak and dynamic typing</a:t>
            </a:r>
            <a:r>
              <a:rPr lang="en-US" sz="2000" dirty="0">
                <a:latin typeface="Century Gothic"/>
              </a:rPr>
              <a:t>: since it is interpreted, no type check is performed.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sz="2000" dirty="0">
                <a:latin typeface="Century Gothic"/>
              </a:rPr>
              <a:t>Offers </a:t>
            </a:r>
            <a:r>
              <a:rPr lang="en-US" sz="2000" b="1" dirty="0">
                <a:latin typeface="Century Gothic"/>
              </a:rPr>
              <a:t>functional features</a:t>
            </a:r>
            <a:r>
              <a:rPr lang="en-US" sz="2000" dirty="0">
                <a:latin typeface="Century Gothic"/>
              </a:rPr>
              <a:t> such as </a:t>
            </a:r>
            <a:r>
              <a:rPr lang="en-US" sz="2000" i="1" dirty="0">
                <a:latin typeface="Century Gothic"/>
              </a:rPr>
              <a:t>map</a:t>
            </a:r>
            <a:r>
              <a:rPr lang="en-US" sz="2000" dirty="0">
                <a:latin typeface="Century Gothic"/>
              </a:rPr>
              <a:t>, </a:t>
            </a:r>
            <a:r>
              <a:rPr lang="en-US" sz="2000" i="1" dirty="0">
                <a:latin typeface="Century Gothic"/>
              </a:rPr>
              <a:t>reduce</a:t>
            </a:r>
            <a:r>
              <a:rPr lang="en-US" sz="2000" dirty="0">
                <a:latin typeface="Century Gothic"/>
              </a:rPr>
              <a:t>, </a:t>
            </a:r>
            <a:r>
              <a:rPr lang="en-US" sz="2000" i="1" dirty="0">
                <a:latin typeface="Century Gothic"/>
              </a:rPr>
              <a:t>higher order functions </a:t>
            </a:r>
            <a:r>
              <a:rPr lang="en-US" sz="2000" dirty="0">
                <a:latin typeface="Century Gothic"/>
              </a:rPr>
              <a:t>and </a:t>
            </a:r>
            <a:r>
              <a:rPr lang="en-US" sz="2000" i="1" dirty="0" err="1">
                <a:latin typeface="Century Gothic"/>
              </a:rPr>
              <a:t>lamba</a:t>
            </a:r>
            <a:r>
              <a:rPr lang="en-US" sz="2000" i="1" dirty="0">
                <a:latin typeface="Century Gothic"/>
              </a:rPr>
              <a:t> functions</a:t>
            </a:r>
            <a:r>
              <a:rPr lang="en-US" sz="2000" dirty="0">
                <a:latin typeface="Century Gothic"/>
              </a:rPr>
              <a:t> among many others.</a:t>
            </a:r>
          </a:p>
          <a:p>
            <a:pPr>
              <a:spcBef>
                <a:spcPct val="20000"/>
              </a:spcBef>
            </a:pPr>
            <a:endParaRPr lang="en-US" sz="20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1600" dirty="0">
                <a:latin typeface="Century Gothic"/>
              </a:rPr>
              <a:t>* </a:t>
            </a:r>
            <a:r>
              <a:rPr lang="en-US" sz="1600" i="1" dirty="0">
                <a:latin typeface="Century Gothic"/>
              </a:rPr>
              <a:t>ECMA</a:t>
            </a:r>
            <a:r>
              <a:rPr lang="en-US" sz="1600" dirty="0">
                <a:latin typeface="Century Gothic"/>
              </a:rPr>
              <a:t> stands for </a:t>
            </a:r>
            <a:r>
              <a:rPr lang="en-US" sz="1600" i="1" dirty="0">
                <a:latin typeface="Century Gothic"/>
              </a:rPr>
              <a:t>European Computer Manufacturers Association</a:t>
            </a:r>
            <a:r>
              <a:rPr lang="en-US" sz="1600" dirty="0">
                <a:latin typeface="Century Gothic"/>
              </a:rPr>
              <a:t>.</a:t>
            </a:r>
          </a:p>
        </p:txBody>
      </p:sp>
      <p:sp>
        <p:nvSpPr>
          <p:cNvPr id="51" name="Rectangle 23">
            <a:extLst>
              <a:ext uri="{FF2B5EF4-FFF2-40B4-BE49-F238E27FC236}">
                <a16:creationId xmlns:a16="http://schemas.microsoft.com/office/drawing/2014/main" id="{D17781F2-1020-4343-B88F-03234841DEB0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JavaScript</a:t>
            </a:r>
            <a:endParaRPr lang="es-ES" i="1" dirty="0"/>
          </a:p>
        </p:txBody>
      </p:sp>
      <p:pic>
        <p:nvPicPr>
          <p:cNvPr id="52" name="Picture 577">
            <a:extLst>
              <a:ext uri="{FF2B5EF4-FFF2-40B4-BE49-F238E27FC236}">
                <a16:creationId xmlns:a16="http://schemas.microsoft.com/office/drawing/2014/main" id="{27DE15B3-C17D-D944-939A-306038E306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0" y="1096874"/>
            <a:ext cx="1268184" cy="1268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6148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Flow control mechanisms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3"/>
            <a:ext cx="6576947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i="1" dirty="0">
                <a:latin typeface="Century Gothic"/>
              </a:rPr>
              <a:t>Event emitters </a:t>
            </a:r>
            <a:r>
              <a:rPr lang="en-US" dirty="0">
                <a:latin typeface="Century Gothic"/>
              </a:rPr>
              <a:t>represent </a:t>
            </a:r>
            <a:r>
              <a:rPr lang="en-US" b="1" dirty="0">
                <a:latin typeface="Century Gothic"/>
              </a:rPr>
              <a:t>an interface </a:t>
            </a:r>
            <a:r>
              <a:rPr lang="en-US" b="1" i="1" dirty="0">
                <a:latin typeface="Century Gothic"/>
              </a:rPr>
              <a:t>Node.js</a:t>
            </a:r>
            <a:r>
              <a:rPr lang="en-US" b="1" dirty="0">
                <a:latin typeface="Century Gothic"/>
              </a:rPr>
              <a:t> objects can use in order to emit events to multiple subscribers</a:t>
            </a:r>
            <a:r>
              <a:rPr lang="en-US" dirty="0">
                <a:latin typeface="Century Gothic"/>
              </a:rPr>
              <a:t>. Keep in mind that </a:t>
            </a:r>
            <a:r>
              <a:rPr lang="en-US" b="1" dirty="0">
                <a:latin typeface="Century Gothic"/>
              </a:rPr>
              <a:t>these emitters are </a:t>
            </a:r>
            <a:r>
              <a:rPr lang="en-US" b="1" i="1" dirty="0">
                <a:latin typeface="Century Gothic"/>
              </a:rPr>
              <a:t>synchronous</a:t>
            </a:r>
            <a:r>
              <a:rPr lang="en-US" b="1" dirty="0">
                <a:latin typeface="Century Gothic"/>
              </a:rPr>
              <a:t> – hence blocking</a:t>
            </a:r>
            <a:r>
              <a:rPr lang="en-US" dirty="0">
                <a:latin typeface="Century Gothic"/>
              </a:rPr>
              <a:t> – and do not use the </a:t>
            </a:r>
            <a:r>
              <a:rPr lang="en-US" i="1" dirty="0">
                <a:latin typeface="Century Gothic"/>
              </a:rPr>
              <a:t>event loop</a:t>
            </a:r>
            <a:r>
              <a:rPr lang="en-US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dirty="0">
                <a:latin typeface="Century Gothic"/>
              </a:rPr>
              <a:t>Third party objects can then add/remove </a:t>
            </a:r>
            <a:r>
              <a:rPr lang="en-US" i="1" dirty="0">
                <a:latin typeface="Century Gothic"/>
              </a:rPr>
              <a:t>listeners</a:t>
            </a:r>
            <a:r>
              <a:rPr lang="en-US" dirty="0">
                <a:latin typeface="Century Gothic"/>
              </a:rPr>
              <a:t> to specific events generated by our </a:t>
            </a:r>
            <a:r>
              <a:rPr lang="en-US" i="1" dirty="0">
                <a:latin typeface="Century Gothic"/>
              </a:rPr>
              <a:t>event emitter</a:t>
            </a:r>
            <a:r>
              <a:rPr lang="en-US" dirty="0">
                <a:latin typeface="Century Gothic"/>
              </a:rPr>
              <a:t> during it’s runtime.</a:t>
            </a: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dirty="0">
                <a:latin typeface="Century Gothic"/>
              </a:rPr>
              <a:t>Keep in mind we can use </a:t>
            </a:r>
            <a:r>
              <a:rPr lang="en-US" i="1" dirty="0">
                <a:latin typeface="Century Gothic"/>
              </a:rPr>
              <a:t>asynchronous</a:t>
            </a:r>
            <a:r>
              <a:rPr lang="en-US" dirty="0">
                <a:latin typeface="Century Gothic"/>
              </a:rPr>
              <a:t> mechanisms such as </a:t>
            </a:r>
            <a:r>
              <a:rPr lang="en-US" i="1" dirty="0">
                <a:latin typeface="Century Gothic"/>
              </a:rPr>
              <a:t>Promises</a:t>
            </a:r>
            <a:r>
              <a:rPr lang="en-US" dirty="0">
                <a:latin typeface="Century Gothic"/>
              </a:rPr>
              <a:t> to push event management into the </a:t>
            </a:r>
            <a:r>
              <a:rPr lang="en-US" i="1" dirty="0">
                <a:latin typeface="Century Gothic"/>
              </a:rPr>
              <a:t>event loop</a:t>
            </a:r>
            <a:r>
              <a:rPr lang="en-US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dirty="0">
              <a:latin typeface="Century Gothic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AACDC37-73F8-46F5-AA87-000E75188D38}"/>
              </a:ext>
            </a:extLst>
          </p:cNvPr>
          <p:cNvSpPr/>
          <p:nvPr/>
        </p:nvSpPr>
        <p:spPr>
          <a:xfrm>
            <a:off x="7016368" y="1196103"/>
            <a:ext cx="4896592" cy="504875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latin typeface="Consolas"/>
              </a:rPr>
              <a:t>‘use strict’</a:t>
            </a:r>
          </a:p>
          <a:p>
            <a:endParaRPr lang="en-US" sz="900" dirty="0">
              <a:latin typeface="Consolas"/>
            </a:endParaRPr>
          </a:p>
          <a:p>
            <a:r>
              <a:rPr lang="en-US" sz="900" dirty="0">
                <a:latin typeface="Consolas"/>
              </a:rPr>
              <a:t>const </a:t>
            </a:r>
            <a:r>
              <a:rPr lang="en-US" sz="900" dirty="0" err="1">
                <a:latin typeface="Consolas"/>
              </a:rPr>
              <a:t>EventEmitter</a:t>
            </a:r>
            <a:r>
              <a:rPr lang="en-US" sz="900" dirty="0">
                <a:latin typeface="Consolas"/>
              </a:rPr>
              <a:t> = require(‘events’);</a:t>
            </a:r>
          </a:p>
          <a:p>
            <a:endParaRPr lang="en-US" sz="900" dirty="0">
              <a:latin typeface="Consolas"/>
              <a:cs typeface="Calibri"/>
            </a:endParaRPr>
          </a:p>
          <a:p>
            <a:r>
              <a:rPr lang="en-US" sz="900" dirty="0">
                <a:latin typeface="Consolas"/>
                <a:cs typeface="Calibri"/>
              </a:rPr>
              <a:t>// Create a sample emitter object</a:t>
            </a:r>
          </a:p>
          <a:p>
            <a:r>
              <a:rPr lang="en-US" sz="900" dirty="0">
                <a:latin typeface="Consolas"/>
                <a:cs typeface="Calibri"/>
              </a:rPr>
              <a:t>class </a:t>
            </a:r>
            <a:r>
              <a:rPr lang="en-US" sz="900" dirty="0" err="1">
                <a:latin typeface="Consolas"/>
                <a:cs typeface="Calibri"/>
              </a:rPr>
              <a:t>SampleEmitter</a:t>
            </a:r>
            <a:r>
              <a:rPr lang="en-US" sz="900" dirty="0">
                <a:latin typeface="Consolas"/>
                <a:cs typeface="Calibri"/>
              </a:rPr>
              <a:t> extends </a:t>
            </a:r>
            <a:r>
              <a:rPr lang="en-US" sz="900" dirty="0" err="1">
                <a:latin typeface="Consolas"/>
                <a:cs typeface="Calibri"/>
              </a:rPr>
              <a:t>EventEmitter</a:t>
            </a:r>
            <a:r>
              <a:rPr lang="en-US" sz="900" dirty="0">
                <a:latin typeface="Consolas"/>
                <a:cs typeface="Calibri"/>
              </a:rPr>
              <a:t> {</a:t>
            </a:r>
          </a:p>
          <a:p>
            <a:r>
              <a:rPr lang="en-US" sz="900" dirty="0">
                <a:latin typeface="Consolas"/>
                <a:cs typeface="Calibri"/>
              </a:rPr>
              <a:t>  </a:t>
            </a:r>
            <a:r>
              <a:rPr lang="en-US" sz="900" dirty="0" err="1">
                <a:latin typeface="Consolas"/>
                <a:cs typeface="Calibri"/>
              </a:rPr>
              <a:t>sampleFunction</a:t>
            </a:r>
            <a:r>
              <a:rPr lang="en-US" sz="900" dirty="0">
                <a:latin typeface="Consolas"/>
                <a:cs typeface="Calibri"/>
              </a:rPr>
              <a:t>(result, delay) {</a:t>
            </a:r>
          </a:p>
          <a:p>
            <a:r>
              <a:rPr lang="en-US" sz="900" dirty="0">
                <a:latin typeface="Consolas"/>
                <a:cs typeface="Calibri"/>
              </a:rPr>
              <a:t>    // When invoked, emit an event</a:t>
            </a:r>
          </a:p>
          <a:p>
            <a:r>
              <a:rPr lang="en-US" sz="900" dirty="0">
                <a:latin typeface="Consolas"/>
                <a:cs typeface="Calibri"/>
              </a:rPr>
              <a:t>    </a:t>
            </a:r>
            <a:r>
              <a:rPr lang="en-US" sz="900" dirty="0" err="1">
                <a:latin typeface="Consolas"/>
                <a:cs typeface="Calibri"/>
              </a:rPr>
              <a:t>console.log</a:t>
            </a:r>
            <a:r>
              <a:rPr lang="en-US" sz="900" dirty="0">
                <a:latin typeface="Consolas"/>
                <a:cs typeface="Calibri"/>
              </a:rPr>
              <a:t>(‘Executing sample function’);</a:t>
            </a:r>
          </a:p>
          <a:p>
            <a:r>
              <a:rPr lang="en-US" sz="900" dirty="0">
                <a:latin typeface="Consolas"/>
                <a:cs typeface="Calibri"/>
              </a:rPr>
              <a:t>    </a:t>
            </a:r>
            <a:r>
              <a:rPr lang="en-US" sz="900" dirty="0" err="1">
                <a:latin typeface="Consolas"/>
                <a:cs typeface="Calibri"/>
              </a:rPr>
              <a:t>this.emit</a:t>
            </a:r>
            <a:r>
              <a:rPr lang="en-US" sz="900" dirty="0">
                <a:latin typeface="Consolas"/>
                <a:cs typeface="Calibri"/>
              </a:rPr>
              <a:t>(‘executing’, {});</a:t>
            </a:r>
          </a:p>
          <a:p>
            <a:r>
              <a:rPr lang="en-US" sz="900" dirty="0">
                <a:latin typeface="Consolas"/>
                <a:cs typeface="Calibri"/>
              </a:rPr>
              <a:t>    </a:t>
            </a:r>
            <a:r>
              <a:rPr lang="en-US" sz="900" dirty="0" err="1">
                <a:latin typeface="Consolas"/>
                <a:cs typeface="Calibri"/>
              </a:rPr>
              <a:t>setTimeout</a:t>
            </a:r>
            <a:r>
              <a:rPr lang="en-US" sz="900" dirty="0">
                <a:latin typeface="Consolas"/>
                <a:cs typeface="Calibri"/>
              </a:rPr>
              <a:t>(() =&gt; {</a:t>
            </a:r>
          </a:p>
          <a:p>
            <a:r>
              <a:rPr lang="en-US" sz="900" dirty="0">
                <a:latin typeface="Consolas"/>
                <a:cs typeface="Calibri"/>
              </a:rPr>
              <a:t>      // Emit execution result</a:t>
            </a:r>
          </a:p>
          <a:p>
            <a:r>
              <a:rPr lang="en-US" sz="900" dirty="0">
                <a:latin typeface="Consolas"/>
                <a:cs typeface="Calibri"/>
              </a:rPr>
              <a:t>      </a:t>
            </a:r>
            <a:r>
              <a:rPr lang="en-US" sz="900" dirty="0" err="1">
                <a:latin typeface="Consolas"/>
                <a:cs typeface="Calibri"/>
              </a:rPr>
              <a:t>this.emit</a:t>
            </a:r>
            <a:r>
              <a:rPr lang="en-US" sz="900" dirty="0">
                <a:latin typeface="Consolas"/>
                <a:cs typeface="Calibri"/>
              </a:rPr>
              <a:t>(result ? ‘finished’ : ‘error’, {});</a:t>
            </a:r>
          </a:p>
          <a:p>
            <a:r>
              <a:rPr lang="en-US" sz="900" dirty="0">
                <a:latin typeface="Consolas"/>
                <a:cs typeface="Calibri"/>
              </a:rPr>
              <a:t>    }, delay &amp;&amp; !</a:t>
            </a:r>
            <a:r>
              <a:rPr lang="en-US" sz="900" dirty="0" err="1">
                <a:latin typeface="Consolas"/>
                <a:cs typeface="Calibri"/>
              </a:rPr>
              <a:t>isNaN</a:t>
            </a:r>
            <a:r>
              <a:rPr lang="en-US" sz="900" dirty="0">
                <a:latin typeface="Consolas"/>
                <a:cs typeface="Calibri"/>
              </a:rPr>
              <a:t>(delay) ? delay : 1000);</a:t>
            </a:r>
          </a:p>
          <a:p>
            <a:r>
              <a:rPr lang="en-US" sz="900" dirty="0">
                <a:latin typeface="Consolas"/>
                <a:cs typeface="Calibri"/>
              </a:rPr>
              <a:t>  }</a:t>
            </a:r>
          </a:p>
          <a:p>
            <a:r>
              <a:rPr lang="en-US" sz="900" dirty="0">
                <a:latin typeface="Consolas"/>
                <a:cs typeface="Calibri"/>
              </a:rPr>
              <a:t>}</a:t>
            </a:r>
          </a:p>
          <a:p>
            <a:endParaRPr lang="en-US" sz="900" dirty="0">
              <a:latin typeface="Consolas"/>
              <a:cs typeface="Calibri"/>
            </a:endParaRPr>
          </a:p>
          <a:p>
            <a:r>
              <a:rPr lang="en-US" sz="900" dirty="0">
                <a:latin typeface="Consolas"/>
                <a:cs typeface="Calibri"/>
              </a:rPr>
              <a:t>const emitter = new </a:t>
            </a:r>
            <a:r>
              <a:rPr lang="en-US" sz="900" dirty="0" err="1">
                <a:latin typeface="Consolas"/>
                <a:cs typeface="Calibri"/>
              </a:rPr>
              <a:t>SampleEmitter</a:t>
            </a:r>
            <a:r>
              <a:rPr lang="en-US" sz="900" dirty="0">
                <a:latin typeface="Consolas"/>
                <a:cs typeface="Calibri"/>
              </a:rPr>
              <a:t>();</a:t>
            </a:r>
          </a:p>
          <a:p>
            <a:r>
              <a:rPr lang="en-US" sz="900" dirty="0" err="1">
                <a:latin typeface="Consolas"/>
                <a:cs typeface="Calibri"/>
              </a:rPr>
              <a:t>emitter.on</a:t>
            </a:r>
            <a:r>
              <a:rPr lang="en-US" sz="900" dirty="0">
                <a:latin typeface="Consolas"/>
                <a:cs typeface="Calibri"/>
              </a:rPr>
              <a:t>(‘executing’, (data) =&gt; {</a:t>
            </a:r>
          </a:p>
          <a:p>
            <a:r>
              <a:rPr lang="en-US" sz="900" dirty="0">
                <a:latin typeface="Consolas"/>
                <a:cs typeface="Calibri"/>
              </a:rPr>
              <a:t>  </a:t>
            </a:r>
            <a:r>
              <a:rPr lang="en-US" sz="900" dirty="0" err="1">
                <a:latin typeface="Consolas"/>
                <a:cs typeface="Calibri"/>
              </a:rPr>
              <a:t>console.log</a:t>
            </a:r>
            <a:r>
              <a:rPr lang="en-US" sz="900" dirty="0">
                <a:latin typeface="Consolas"/>
                <a:cs typeface="Calibri"/>
              </a:rPr>
              <a:t>(’Executing listener’, data);</a:t>
            </a:r>
          </a:p>
          <a:p>
            <a:r>
              <a:rPr lang="en-US" sz="900" dirty="0">
                <a:latin typeface="Consolas"/>
                <a:cs typeface="Calibri"/>
              </a:rPr>
              <a:t>});</a:t>
            </a:r>
          </a:p>
          <a:p>
            <a:r>
              <a:rPr lang="en-US" sz="900" dirty="0" err="1">
                <a:latin typeface="Consolas"/>
                <a:cs typeface="Calibri"/>
              </a:rPr>
              <a:t>emitter.on</a:t>
            </a:r>
            <a:r>
              <a:rPr lang="en-US" sz="900" dirty="0">
                <a:latin typeface="Consolas"/>
                <a:cs typeface="Calibri"/>
              </a:rPr>
              <a:t>(‘executed’, (data) =&gt; {</a:t>
            </a:r>
          </a:p>
          <a:p>
            <a:r>
              <a:rPr lang="en-US" sz="900" dirty="0">
                <a:latin typeface="Consolas"/>
                <a:cs typeface="Calibri"/>
              </a:rPr>
              <a:t>  </a:t>
            </a:r>
            <a:r>
              <a:rPr lang="en-US" sz="900" dirty="0" err="1">
                <a:latin typeface="Consolas"/>
                <a:cs typeface="Calibri"/>
              </a:rPr>
              <a:t>console.log</a:t>
            </a:r>
            <a:r>
              <a:rPr lang="en-US" sz="900" dirty="0">
                <a:latin typeface="Consolas"/>
                <a:cs typeface="Calibri"/>
              </a:rPr>
              <a:t>(‘Executed listener’, data);</a:t>
            </a:r>
          </a:p>
          <a:p>
            <a:r>
              <a:rPr lang="en-US" sz="900" dirty="0">
                <a:latin typeface="Consolas"/>
                <a:cs typeface="Calibri"/>
              </a:rPr>
              <a:t>});</a:t>
            </a:r>
          </a:p>
          <a:p>
            <a:r>
              <a:rPr lang="en-US" sz="900" dirty="0" err="1">
                <a:latin typeface="Consolas"/>
                <a:cs typeface="Calibri"/>
              </a:rPr>
              <a:t>emitter.on</a:t>
            </a:r>
            <a:r>
              <a:rPr lang="en-US" sz="900" dirty="0">
                <a:latin typeface="Consolas"/>
                <a:cs typeface="Calibri"/>
              </a:rPr>
              <a:t>(‘error’, (data) =&gt; {</a:t>
            </a:r>
          </a:p>
          <a:p>
            <a:r>
              <a:rPr lang="en-US" sz="900" dirty="0">
                <a:latin typeface="Consolas"/>
                <a:cs typeface="Calibri"/>
              </a:rPr>
              <a:t>  </a:t>
            </a:r>
            <a:r>
              <a:rPr lang="en-US" sz="900" dirty="0" err="1">
                <a:latin typeface="Consolas"/>
                <a:cs typeface="Calibri"/>
              </a:rPr>
              <a:t>console.error</a:t>
            </a:r>
            <a:r>
              <a:rPr lang="en-US" sz="900" dirty="0">
                <a:latin typeface="Consolas"/>
                <a:cs typeface="Calibri"/>
              </a:rPr>
              <a:t>(‘Error listener’, data);</a:t>
            </a:r>
          </a:p>
          <a:p>
            <a:r>
              <a:rPr lang="en-US" sz="900" dirty="0">
                <a:latin typeface="Consolas"/>
                <a:cs typeface="Calibri"/>
              </a:rPr>
              <a:t>});</a:t>
            </a:r>
          </a:p>
          <a:p>
            <a:endParaRPr lang="en-US" sz="900" dirty="0">
              <a:latin typeface="Consolas"/>
              <a:cs typeface="Calibri"/>
            </a:endParaRPr>
          </a:p>
          <a:p>
            <a:r>
              <a:rPr lang="en-US" sz="900" dirty="0" err="1">
                <a:latin typeface="Consolas"/>
                <a:cs typeface="Calibri"/>
              </a:rPr>
              <a:t>emitter.sampleFunction</a:t>
            </a:r>
            <a:r>
              <a:rPr lang="en-US" sz="900" dirty="0">
                <a:latin typeface="Consolas"/>
                <a:cs typeface="Calibri"/>
              </a:rPr>
              <a:t>(true, 5000);</a:t>
            </a:r>
          </a:p>
          <a:p>
            <a:r>
              <a:rPr lang="en-US" sz="900" dirty="0" err="1">
                <a:latin typeface="Consolas"/>
                <a:cs typeface="Calibri"/>
              </a:rPr>
              <a:t>emitter.sampleFunction</a:t>
            </a:r>
            <a:r>
              <a:rPr lang="en-US" sz="900" dirty="0">
                <a:latin typeface="Consolas"/>
                <a:cs typeface="Calibri"/>
              </a:rPr>
              <a:t>(false, 5000);</a:t>
            </a:r>
          </a:p>
          <a:p>
            <a:endParaRPr lang="en-US" sz="900" dirty="0">
              <a:latin typeface="Consolas"/>
              <a:cs typeface="Calibri"/>
            </a:endParaRPr>
          </a:p>
          <a:p>
            <a:r>
              <a:rPr lang="en-US" sz="900" dirty="0">
                <a:latin typeface="Consolas"/>
                <a:cs typeface="Calibri"/>
              </a:rPr>
              <a:t>[‘executing’, ‘executed’, ‘error’].</a:t>
            </a:r>
            <a:r>
              <a:rPr lang="en-US" sz="900" dirty="0" err="1">
                <a:latin typeface="Consolas"/>
                <a:cs typeface="Calibri"/>
              </a:rPr>
              <a:t>forEach</a:t>
            </a:r>
            <a:r>
              <a:rPr lang="en-US" sz="900" dirty="0">
                <a:latin typeface="Consolas"/>
                <a:cs typeface="Calibri"/>
              </a:rPr>
              <a:t>((event) =&gt; {</a:t>
            </a:r>
          </a:p>
          <a:p>
            <a:r>
              <a:rPr lang="en-US" sz="900" dirty="0">
                <a:latin typeface="Consolas"/>
                <a:cs typeface="Calibri"/>
              </a:rPr>
              <a:t>  const </a:t>
            </a:r>
            <a:r>
              <a:rPr lang="en-US" sz="900" dirty="0" err="1">
                <a:latin typeface="Consolas"/>
                <a:cs typeface="Calibri"/>
              </a:rPr>
              <a:t>noListeners</a:t>
            </a:r>
            <a:r>
              <a:rPr lang="en-US" sz="900" dirty="0">
                <a:latin typeface="Consolas"/>
                <a:cs typeface="Calibri"/>
              </a:rPr>
              <a:t> = </a:t>
            </a:r>
            <a:r>
              <a:rPr lang="en-US" sz="900" dirty="0" err="1">
                <a:latin typeface="Consolas"/>
                <a:cs typeface="Calibri"/>
              </a:rPr>
              <a:t>events.EventEmitter.listenerCount</a:t>
            </a:r>
            <a:r>
              <a:rPr lang="en-US" sz="900" dirty="0">
                <a:latin typeface="Consolas"/>
                <a:cs typeface="Calibri"/>
              </a:rPr>
              <a:t>(emitter, event);</a:t>
            </a:r>
          </a:p>
          <a:p>
            <a:r>
              <a:rPr lang="en-US" sz="900" dirty="0">
                <a:latin typeface="Consolas"/>
                <a:cs typeface="Calibri"/>
              </a:rPr>
              <a:t>  </a:t>
            </a:r>
            <a:r>
              <a:rPr lang="en-US" sz="900" dirty="0" err="1">
                <a:latin typeface="Consolas"/>
                <a:cs typeface="Calibri"/>
              </a:rPr>
              <a:t>console.log</a:t>
            </a:r>
            <a:r>
              <a:rPr lang="en-US" sz="900" dirty="0">
                <a:latin typeface="Consolas"/>
                <a:cs typeface="Calibri"/>
              </a:rPr>
              <a:t>(`${</a:t>
            </a:r>
            <a:r>
              <a:rPr lang="en-US" sz="900" dirty="0" err="1">
                <a:latin typeface="Consolas"/>
                <a:cs typeface="Calibri"/>
              </a:rPr>
              <a:t>noListeners</a:t>
            </a:r>
            <a:r>
              <a:rPr lang="en-US" sz="900" dirty="0">
                <a:latin typeface="Consolas"/>
                <a:cs typeface="Calibri"/>
              </a:rPr>
              <a:t>} listener/s for event ${event}`);</a:t>
            </a:r>
          </a:p>
          <a:p>
            <a:r>
              <a:rPr lang="en-US" sz="900" dirty="0">
                <a:latin typeface="Consolas"/>
                <a:cs typeface="Calibri"/>
              </a:rPr>
              <a:t>});</a:t>
            </a:r>
          </a:p>
          <a:p>
            <a:endParaRPr lang="en-US" sz="900" dirty="0">
              <a:latin typeface="Consolas"/>
              <a:cs typeface="Calibri"/>
            </a:endParaRPr>
          </a:p>
        </p:txBody>
      </p:sp>
      <p:sp>
        <p:nvSpPr>
          <p:cNvPr id="16" name="Rectangle 23">
            <a:extLst>
              <a:ext uri="{FF2B5EF4-FFF2-40B4-BE49-F238E27FC236}">
                <a16:creationId xmlns:a16="http://schemas.microsoft.com/office/drawing/2014/main" id="{C0E05204-C85A-FB47-AC9F-D22B744DA0E7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Event Emitters</a:t>
            </a:r>
            <a:endParaRPr lang="es-ES" i="1" dirty="0"/>
          </a:p>
        </p:txBody>
      </p:sp>
    </p:spTree>
    <p:extLst>
      <p:ext uri="{BB962C8B-B14F-4D97-AF65-F5344CB8AC3E}">
        <p14:creationId xmlns:p14="http://schemas.microsoft.com/office/powerpoint/2010/main" val="325608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 dirty="0">
                <a:solidFill>
                  <a:schemeClr val="bg1"/>
                </a:solidFill>
                <a:latin typeface="Century Gothic"/>
              </a:rPr>
              <a:t>Flow control mechanisms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23">
            <a:extLst>
              <a:ext uri="{FF2B5EF4-FFF2-40B4-BE49-F238E27FC236}">
                <a16:creationId xmlns:a16="http://schemas.microsoft.com/office/drawing/2014/main" id="{6CBD4B3D-78A9-46CF-B7B8-8C171B3F1943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Exercise</a:t>
            </a:r>
            <a:endParaRPr lang="es-ES" i="1" dirty="0"/>
          </a:p>
        </p:txBody>
      </p:sp>
      <p:pic>
        <p:nvPicPr>
          <p:cNvPr id="15" name="Picture 2" descr="Hands-On Training">
            <a:extLst>
              <a:ext uri="{FF2B5EF4-FFF2-40B4-BE49-F238E27FC236}">
                <a16:creationId xmlns:a16="http://schemas.microsoft.com/office/drawing/2014/main" id="{DF4EF015-7992-4859-AC70-FEBECA67C1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922"/>
          <a:stretch/>
        </p:blipFill>
        <p:spPr bwMode="auto">
          <a:xfrm>
            <a:off x="1718310" y="2522066"/>
            <a:ext cx="2716530" cy="2812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3">
            <a:extLst>
              <a:ext uri="{FF2B5EF4-FFF2-40B4-BE49-F238E27FC236}">
                <a16:creationId xmlns:a16="http://schemas.microsoft.com/office/drawing/2014/main" id="{6909A535-8C53-4A37-B3E0-FC6F7A28423E}"/>
              </a:ext>
            </a:extLst>
          </p:cNvPr>
          <p:cNvSpPr/>
          <p:nvPr/>
        </p:nvSpPr>
        <p:spPr>
          <a:xfrm>
            <a:off x="4434840" y="1680072"/>
            <a:ext cx="6575667" cy="44968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</a:pPr>
            <a:r>
              <a:rPr lang="en-US" sz="3200" b="1" dirty="0">
                <a:latin typeface="Century Gothic"/>
              </a:rPr>
              <a:t>Exercise 3.1</a:t>
            </a:r>
          </a:p>
          <a:p>
            <a:pPr>
              <a:spcBef>
                <a:spcPct val="20000"/>
              </a:spcBef>
            </a:pPr>
            <a:r>
              <a:rPr lang="en-US" sz="2400" dirty="0">
                <a:latin typeface="Century Gothic"/>
              </a:rPr>
              <a:t>Implement a function that performs an API call using </a:t>
            </a:r>
            <a:r>
              <a:rPr lang="en-US" sz="2400" i="1" dirty="0" err="1">
                <a:latin typeface="Century Gothic"/>
              </a:rPr>
              <a:t>axios</a:t>
            </a:r>
            <a:r>
              <a:rPr lang="en-US" sz="2400" dirty="0">
                <a:latin typeface="Century Gothic"/>
              </a:rPr>
              <a:t> and </a:t>
            </a:r>
            <a:r>
              <a:rPr lang="en-US" sz="2400" i="1" dirty="0">
                <a:latin typeface="Century Gothic"/>
              </a:rPr>
              <a:t>Promises</a:t>
            </a:r>
            <a:r>
              <a:rPr lang="en-US" sz="2400" dirty="0">
                <a:latin typeface="Century Gothic"/>
              </a:rPr>
              <a:t> or </a:t>
            </a:r>
            <a:r>
              <a:rPr lang="en-US" sz="2400" i="1" dirty="0">
                <a:latin typeface="Century Gothic"/>
              </a:rPr>
              <a:t>async/await</a:t>
            </a:r>
            <a:r>
              <a:rPr lang="en-US" sz="2400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r>
              <a:rPr lang="en-US" sz="3200" b="1" dirty="0">
                <a:latin typeface="Century Gothic"/>
              </a:rPr>
              <a:t>Exercise 3.2</a:t>
            </a:r>
          </a:p>
          <a:p>
            <a:pPr>
              <a:spcBef>
                <a:spcPct val="20000"/>
              </a:spcBef>
            </a:pPr>
            <a:r>
              <a:rPr lang="en-US" sz="2400" dirty="0">
                <a:latin typeface="Century Gothic"/>
              </a:rPr>
              <a:t>Invoke two </a:t>
            </a:r>
            <a:r>
              <a:rPr lang="en-US" sz="2400" i="1" dirty="0">
                <a:latin typeface="Century Gothic"/>
              </a:rPr>
              <a:t>mock</a:t>
            </a:r>
            <a:r>
              <a:rPr lang="en-US" sz="2400" dirty="0">
                <a:latin typeface="Century Gothic"/>
              </a:rPr>
              <a:t> APIs, merge the obtained data and write it into a single file.</a:t>
            </a:r>
            <a:endParaRPr lang="en-US" sz="2400" i="1" dirty="0">
              <a:latin typeface="Century Gothic"/>
              <a:cs typeface="Calibri" panose="020F0502020204030204"/>
            </a:endParaRPr>
          </a:p>
          <a:p>
            <a:pPr>
              <a:spcBef>
                <a:spcPct val="20000"/>
              </a:spcBef>
            </a:pPr>
            <a:r>
              <a:rPr lang="en-US" sz="3200" b="1" dirty="0">
                <a:latin typeface="Century Gothic"/>
              </a:rPr>
              <a:t>Exercise 3.3</a:t>
            </a:r>
          </a:p>
          <a:p>
            <a:pPr>
              <a:spcBef>
                <a:spcPct val="20000"/>
              </a:spcBef>
            </a:pPr>
            <a:r>
              <a:rPr lang="en-US" sz="2400" dirty="0">
                <a:latin typeface="Century Gothic"/>
              </a:rPr>
              <a:t>Invoke a </a:t>
            </a:r>
            <a:r>
              <a:rPr lang="en-US" sz="2400" i="1" dirty="0">
                <a:latin typeface="Century Gothic"/>
              </a:rPr>
              <a:t>mock</a:t>
            </a:r>
            <a:r>
              <a:rPr lang="en-US" sz="2400" dirty="0">
                <a:latin typeface="Century Gothic"/>
              </a:rPr>
              <a:t> API that doesn’t exist. Handle the error.</a:t>
            </a:r>
            <a:endParaRPr lang="en-US" sz="2400" i="1" dirty="0"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60774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13716000" cy="6885384"/>
          </a:xfrm>
          <a:prstGeom prst="rect">
            <a:avLst/>
          </a:prstGeom>
        </p:spPr>
      </p:pic>
      <p:sp>
        <p:nvSpPr>
          <p:cNvPr id="24" name="Rectangle 28"/>
          <p:cNvSpPr/>
          <p:nvPr/>
        </p:nvSpPr>
        <p:spPr>
          <a:xfrm>
            <a:off x="2" y="2"/>
            <a:ext cx="7315198" cy="6857999"/>
          </a:xfrm>
          <a:prstGeom prst="rect">
            <a:avLst/>
          </a:prstGeom>
          <a:solidFill>
            <a:srgbClr val="000000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375467">
              <a:defRPr/>
            </a:pPr>
            <a:endParaRPr lang="en-US" sz="2667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Rectangle 23"/>
          <p:cNvSpPr/>
          <p:nvPr/>
        </p:nvSpPr>
        <p:spPr>
          <a:xfrm>
            <a:off x="1048364" y="221159"/>
            <a:ext cx="135646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75467"/>
            <a:r>
              <a:rPr lang="en-US" sz="3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INDEX</a:t>
            </a:r>
          </a:p>
        </p:txBody>
      </p:sp>
      <p:cxnSp>
        <p:nvCxnSpPr>
          <p:cNvPr id="27" name="Straight Connector 24"/>
          <p:cNvCxnSpPr/>
          <p:nvPr/>
        </p:nvCxnSpPr>
        <p:spPr>
          <a:xfrm>
            <a:off x="593444" y="836712"/>
            <a:ext cx="3996000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46" name="45 CuadroTexto"/>
          <p:cNvSpPr txBox="1"/>
          <p:nvPr/>
        </p:nvSpPr>
        <p:spPr>
          <a:xfrm>
            <a:off x="431373" y="1001627"/>
            <a:ext cx="7582860" cy="230832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Introduction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Node.js</a:t>
            </a: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Century Gothic"/>
              </a:rPr>
              <a:t>Flow control mechanisms</a:t>
            </a:r>
            <a:endParaRPr lang="en-US" sz="2400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</a:endParaRPr>
          </a:p>
          <a:p>
            <a:pPr marL="608965" indent="-608965" defTabSz="1219170">
              <a:spcBef>
                <a:spcPts val="800"/>
              </a:spcBef>
              <a:spcAft>
                <a:spcPts val="800"/>
              </a:spcAft>
              <a:buClr>
                <a:srgbClr val="FFFFFF"/>
              </a:buClr>
              <a:buFont typeface="+mj-lt"/>
              <a:buAutoNum type="arabicPeriod"/>
              <a:defRPr/>
            </a:pPr>
            <a:r>
              <a:rPr lang="en-US" sz="3200" dirty="0">
                <a:solidFill>
                  <a:schemeClr val="bg1"/>
                </a:solidFill>
                <a:latin typeface="Century Gothic"/>
              </a:rPr>
              <a:t>Q&amp;A</a:t>
            </a:r>
          </a:p>
        </p:txBody>
      </p:sp>
      <p:sp>
        <p:nvSpPr>
          <p:cNvPr id="11" name="16 Rectángulo"/>
          <p:cNvSpPr/>
          <p:nvPr/>
        </p:nvSpPr>
        <p:spPr>
          <a:xfrm>
            <a:off x="7315200" y="-27384"/>
            <a:ext cx="49827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23248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spc="150">
                <a:solidFill>
                  <a:schemeClr val="bg1"/>
                </a:solidFill>
                <a:latin typeface="Century Gothic" panose="020B0502020202020204" pitchFamily="34" charset="0"/>
                <a:ea typeface="Helvetica Neue Thin" charset="0"/>
                <a:cs typeface="Helvetica Neue Thin" charset="0"/>
              </a:rPr>
              <a:t>Q&amp;A</a:t>
            </a:r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6916" name="Picture 4" descr="Resultado de imagen de QUESTIONS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914" y="983269"/>
            <a:ext cx="12218871" cy="5874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0291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2"/>
          <a:srcRect r="8170" b="7848"/>
          <a:stretch/>
        </p:blipFill>
        <p:spPr>
          <a:xfrm>
            <a:off x="0" y="-88417"/>
            <a:ext cx="12300155" cy="6943023"/>
          </a:xfrm>
          <a:prstGeom prst="rect">
            <a:avLst/>
          </a:prstGeom>
          <a:effectLst>
            <a:glow rad="127000">
              <a:schemeClr val="accent1">
                <a:alpha val="51000"/>
              </a:schemeClr>
            </a:glow>
          </a:effectLst>
        </p:spPr>
      </p:pic>
      <p:sp>
        <p:nvSpPr>
          <p:cNvPr id="27" name="16 Rectángulo"/>
          <p:cNvSpPr/>
          <p:nvPr/>
        </p:nvSpPr>
        <p:spPr>
          <a:xfrm>
            <a:off x="1" y="-27384"/>
            <a:ext cx="12297990" cy="6885383"/>
          </a:xfrm>
          <a:prstGeom prst="rect">
            <a:avLst/>
          </a:prstGeom>
          <a:solidFill>
            <a:srgbClr val="323232">
              <a:alpha val="28000"/>
            </a:srgbClr>
          </a:solidFill>
          <a:ln w="3175" cap="flat">
            <a:noFill/>
            <a:prstDash val="solid"/>
            <a:bevel/>
          </a:ln>
          <a:effectLst>
            <a:outerShdw blurRad="127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125" tIns="26125" rIns="26125" bIns="26125" numCol="1" spcCol="38100" rtlCol="0" anchor="ctr">
            <a:noAutofit/>
          </a:bodyPr>
          <a:lstStyle/>
          <a:p>
            <a:pPr rtl="0" latinLnBrk="1" hangingPunct="0"/>
            <a:endParaRPr lang="en-US" sz="2400">
              <a:solidFill>
                <a:srgbClr val="000000"/>
              </a:solidFill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723900" y="828152"/>
            <a:ext cx="4947775" cy="3134297"/>
            <a:chOff x="1792374" y="1998274"/>
            <a:chExt cx="4947775" cy="3134297"/>
          </a:xfrm>
        </p:grpSpPr>
        <p:sp>
          <p:nvSpPr>
            <p:cNvPr id="3" name="2 Rectángulo"/>
            <p:cNvSpPr/>
            <p:nvPr/>
          </p:nvSpPr>
          <p:spPr>
            <a:xfrm>
              <a:off x="1792374" y="1998274"/>
              <a:ext cx="4947775" cy="3013493"/>
            </a:xfrm>
            <a:prstGeom prst="rect">
              <a:avLst/>
            </a:prstGeom>
          </p:spPr>
          <p:txBody>
            <a:bodyPr lIns="38330" tIns="19165" rIns="38330" bIns="19165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Argentina</a:t>
              </a:r>
            </a:p>
            <a:p>
              <a:pPr>
                <a:lnSpc>
                  <a:spcPct val="150000"/>
                </a:lnSpc>
              </a:pPr>
              <a:r>
                <a:rPr lang="es-ES" sz="899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Belgium</a:t>
              </a:r>
              <a:endParaRPr lang="es-ES" sz="899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Brazil</a:t>
              </a:r>
              <a:endParaRPr lang="es-ES" sz="899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Chile</a:t>
              </a:r>
            </a:p>
            <a:p>
              <a:pPr>
                <a:lnSpc>
                  <a:spcPct val="150000"/>
                </a:lnSpc>
              </a:pP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Colombia</a:t>
              </a:r>
            </a:p>
            <a:p>
              <a:pPr>
                <a:lnSpc>
                  <a:spcPct val="150000"/>
                </a:lnSpc>
              </a:pP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France</a:t>
              </a:r>
            </a:p>
            <a:p>
              <a:pPr>
                <a:lnSpc>
                  <a:spcPct val="150000"/>
                </a:lnSpc>
              </a:pPr>
              <a:r>
                <a:rPr lang="es-ES" sz="2097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España</a:t>
              </a:r>
            </a:p>
            <a:p>
              <a:pPr>
                <a:lnSpc>
                  <a:spcPct val="150000"/>
                </a:lnSpc>
              </a:pPr>
              <a:r>
                <a:rPr lang="es-ES" sz="899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Italy</a:t>
              </a:r>
              <a:endParaRPr lang="es-ES" sz="899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Mexico</a:t>
              </a:r>
              <a:endParaRPr lang="es-ES" sz="899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Perú</a:t>
              </a:r>
            </a:p>
            <a:p>
              <a:pPr>
                <a:lnSpc>
                  <a:spcPct val="150000"/>
                </a:lnSpc>
              </a:pP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Portugal</a:t>
              </a:r>
            </a:p>
            <a:p>
              <a:pPr>
                <a:lnSpc>
                  <a:spcPct val="150000"/>
                </a:lnSpc>
              </a:pPr>
              <a:r>
                <a:rPr lang="es-ES" sz="899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United</a:t>
              </a: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 </a:t>
              </a:r>
              <a:r>
                <a:rPr lang="es-ES" sz="899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Kingdom</a:t>
              </a:r>
              <a:endParaRPr lang="es-ES" sz="899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8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USA</a:t>
              </a:r>
            </a:p>
          </p:txBody>
        </p:sp>
        <p:sp>
          <p:nvSpPr>
            <p:cNvPr id="4" name="3 Rectángulo"/>
            <p:cNvSpPr/>
            <p:nvPr/>
          </p:nvSpPr>
          <p:spPr>
            <a:xfrm>
              <a:off x="3444979" y="3317206"/>
              <a:ext cx="2028636" cy="1514621"/>
            </a:xfrm>
            <a:prstGeom prst="rect">
              <a:avLst/>
            </a:prstGeom>
          </p:spPr>
          <p:txBody>
            <a:bodyPr wrap="square" lIns="38330" tIns="19165" rIns="38330" bIns="19165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s-ES" sz="1398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Barcelona</a:t>
              </a:r>
              <a:endParaRPr lang="es-ES" sz="899">
                <a:solidFill>
                  <a:schemeClr val="bg1"/>
                </a:solidFill>
                <a:latin typeface="Century Gothic" panose="020B0502020202020204" pitchFamily="34" charset="0"/>
                <a:ea typeface="Open Sans" charset="0"/>
                <a:cs typeface="Open Sans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sz="9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Avda. Diagonal, 605 4a planta </a:t>
              </a:r>
            </a:p>
            <a:p>
              <a:pPr>
                <a:lnSpc>
                  <a:spcPct val="150000"/>
                </a:lnSpc>
              </a:pPr>
              <a:r>
                <a:rPr lang="es-ES" sz="9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08028 Barcelona</a:t>
              </a:r>
            </a:p>
            <a:p>
              <a:pPr>
                <a:lnSpc>
                  <a:spcPct val="150000"/>
                </a:lnSpc>
              </a:pPr>
              <a:r>
                <a:rPr lang="es-ES" sz="9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Tel.: 34 93 494 77 00</a:t>
              </a:r>
            </a:p>
            <a:p>
              <a:pPr>
                <a:lnSpc>
                  <a:spcPct val="150000"/>
                </a:lnSpc>
              </a:pPr>
              <a:r>
                <a:rPr lang="es-ES" sz="999" err="1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Mov</a:t>
              </a:r>
              <a:r>
                <a:rPr lang="es-ES" sz="9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: 34 692 288 378</a:t>
              </a:r>
            </a:p>
            <a:p>
              <a:pPr>
                <a:lnSpc>
                  <a:spcPct val="150000"/>
                </a:lnSpc>
              </a:pPr>
              <a:r>
                <a:rPr lang="es-ES" sz="999">
                  <a:solidFill>
                    <a:schemeClr val="bg1"/>
                  </a:solidFill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www.everis.com</a:t>
              </a:r>
            </a:p>
          </p:txBody>
        </p:sp>
        <p:cxnSp>
          <p:nvCxnSpPr>
            <p:cNvPr id="15" name="14 Conector recto"/>
            <p:cNvCxnSpPr/>
            <p:nvPr/>
          </p:nvCxnSpPr>
          <p:spPr>
            <a:xfrm flipH="1">
              <a:off x="1832029" y="5132571"/>
              <a:ext cx="3760414" cy="0"/>
            </a:xfrm>
            <a:prstGeom prst="line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0" name="9 Conector recto"/>
            <p:cNvCxnSpPr/>
            <p:nvPr/>
          </p:nvCxnSpPr>
          <p:spPr>
            <a:xfrm>
              <a:off x="2858849" y="3500928"/>
              <a:ext cx="540000" cy="0"/>
            </a:xfrm>
            <a:prstGeom prst="line">
              <a:avLst/>
            </a:prstGeom>
            <a:noFill/>
            <a:ln w="15875" cap="flat">
              <a:solidFill>
                <a:schemeClr val="bg1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pic>
        <p:nvPicPr>
          <p:cNvPr id="13" name="Imagen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428858" y="4117875"/>
            <a:ext cx="719284" cy="2624699"/>
          </a:xfrm>
          <a:prstGeom prst="rect">
            <a:avLst/>
          </a:prstGeom>
        </p:spPr>
      </p:pic>
      <p:grpSp>
        <p:nvGrpSpPr>
          <p:cNvPr id="21" name="Grupo 20"/>
          <p:cNvGrpSpPr/>
          <p:nvPr/>
        </p:nvGrpSpPr>
        <p:grpSpPr>
          <a:xfrm>
            <a:off x="8115961" y="2180790"/>
            <a:ext cx="1618527" cy="1098285"/>
            <a:chOff x="10261455" y="2506524"/>
            <a:chExt cx="4222312" cy="2787337"/>
          </a:xfrm>
        </p:grpSpPr>
        <p:grpSp>
          <p:nvGrpSpPr>
            <p:cNvPr id="22" name="Grupo 21"/>
            <p:cNvGrpSpPr/>
            <p:nvPr/>
          </p:nvGrpSpPr>
          <p:grpSpPr>
            <a:xfrm>
              <a:off x="10261455" y="3546887"/>
              <a:ext cx="4222312" cy="1746974"/>
              <a:chOff x="3775011" y="1773238"/>
              <a:chExt cx="2110912" cy="873386"/>
            </a:xfrm>
          </p:grpSpPr>
          <p:sp>
            <p:nvSpPr>
              <p:cNvPr id="24" name="Shape 339"/>
              <p:cNvSpPr/>
              <p:nvPr/>
            </p:nvSpPr>
            <p:spPr>
              <a:xfrm>
                <a:off x="3775011" y="2646624"/>
                <a:ext cx="2110912" cy="0"/>
              </a:xfrm>
              <a:prstGeom prst="line">
                <a:avLst/>
              </a:prstGeom>
              <a:solidFill>
                <a:schemeClr val="accent2"/>
              </a:solidFill>
              <a:ln w="28575">
                <a:solidFill>
                  <a:schemeClr val="bg1"/>
                </a:solidFill>
              </a:ln>
            </p:spPr>
            <p:txBody>
              <a:bodyPr lIns="45674" rIns="45674"/>
              <a:lstStyle/>
              <a:p>
                <a:endParaRPr lang="en-GB" sz="3596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endParaRPr>
              </a:p>
            </p:txBody>
          </p:sp>
          <p:sp>
            <p:nvSpPr>
              <p:cNvPr id="25" name="Shape 442"/>
              <p:cNvSpPr/>
              <p:nvPr/>
            </p:nvSpPr>
            <p:spPr>
              <a:xfrm>
                <a:off x="4700718" y="1773238"/>
                <a:ext cx="92396" cy="769499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45674" rIns="45674">
                <a:spAutoFit/>
              </a:bodyPr>
              <a:lstStyle>
                <a:lvl1pPr defTabSz="457200">
                  <a:lnSpc>
                    <a:spcPct val="110000"/>
                  </a:lnSpc>
                  <a:defRPr sz="1600" b="1">
                    <a:solidFill>
                      <a:srgbClr val="7B234B"/>
                    </a:solidFill>
                    <a:latin typeface="Open Sans"/>
                    <a:ea typeface="Open Sans"/>
                    <a:cs typeface="Open Sans"/>
                    <a:sym typeface="Open Sans"/>
                  </a:defRPr>
                </a:lvl1pPr>
              </a:lstStyle>
              <a:p>
                <a:pPr algn="ctr"/>
                <a:endParaRPr lang="en-GB" sz="3996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23" name="Picture 5" descr="\\usersad.everis.int\enterprise_files\Spain\Madrid\Proyectos\Customer Experience\1.Cosas Diseño\11 - Logos everis NTT DATA\eve+ntt_logo_invertido-blanco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84402" y="2506524"/>
              <a:ext cx="3976420" cy="221543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4633057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>
                <a:solidFill>
                  <a:schemeClr val="bg1"/>
                </a:solidFill>
                <a:latin typeface="Century Gothic"/>
              </a:rPr>
              <a:t>Introduction</a:t>
            </a:r>
            <a:endParaRPr lang="es-ES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2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400" b="1" dirty="0">
                <a:latin typeface="Century Gothic"/>
              </a:rPr>
              <a:t>Evolution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b="1" dirty="0">
                <a:latin typeface="Century Gothic"/>
              </a:rPr>
              <a:t>1997 </a:t>
            </a:r>
            <a:r>
              <a:rPr lang="en-US" dirty="0">
                <a:latin typeface="Century Gothic"/>
              </a:rPr>
              <a:t>- </a:t>
            </a:r>
            <a:r>
              <a:rPr lang="en-US" b="1" dirty="0">
                <a:latin typeface="Century Gothic"/>
              </a:rPr>
              <a:t>ES1</a:t>
            </a:r>
            <a:r>
              <a:rPr lang="en-US" dirty="0">
                <a:latin typeface="Century Gothic"/>
              </a:rPr>
              <a:t>: first edition and editorial changes.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b="1" dirty="0">
                <a:latin typeface="Century Gothic"/>
              </a:rPr>
              <a:t>1999</a:t>
            </a:r>
            <a:r>
              <a:rPr lang="en-US" dirty="0">
                <a:latin typeface="Century Gothic"/>
              </a:rPr>
              <a:t> - </a:t>
            </a:r>
            <a:r>
              <a:rPr lang="en-US" b="1" dirty="0">
                <a:latin typeface="Century Gothic"/>
              </a:rPr>
              <a:t>ES3</a:t>
            </a:r>
            <a:r>
              <a:rPr lang="en-US" dirty="0">
                <a:latin typeface="Century Gothic"/>
              </a:rPr>
              <a:t>: added </a:t>
            </a:r>
            <a:r>
              <a:rPr lang="en-US" i="1" dirty="0">
                <a:latin typeface="Century Gothic"/>
              </a:rPr>
              <a:t>regular expressions</a:t>
            </a:r>
            <a:r>
              <a:rPr lang="en-US" dirty="0">
                <a:latin typeface="Century Gothic"/>
              </a:rPr>
              <a:t> and </a:t>
            </a:r>
            <a:r>
              <a:rPr lang="en-US" i="1" dirty="0">
                <a:latin typeface="Century Gothic"/>
              </a:rPr>
              <a:t>exceptions</a:t>
            </a:r>
            <a:r>
              <a:rPr lang="en-US" dirty="0">
                <a:latin typeface="Century Gothic"/>
              </a:rPr>
              <a:t> management with </a:t>
            </a:r>
            <a:br>
              <a:rPr lang="en-US" dirty="0">
                <a:latin typeface="Century Gothic"/>
              </a:rPr>
            </a:br>
            <a:r>
              <a:rPr lang="en-US" i="1" dirty="0">
                <a:latin typeface="Century Gothic"/>
              </a:rPr>
              <a:t>try</a:t>
            </a:r>
            <a:r>
              <a:rPr lang="en-US" dirty="0">
                <a:latin typeface="Century Gothic"/>
              </a:rPr>
              <a:t>/catch.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b="1" dirty="0">
                <a:latin typeface="Century Gothic"/>
              </a:rPr>
              <a:t>2009</a:t>
            </a:r>
            <a:r>
              <a:rPr lang="en-US" dirty="0">
                <a:latin typeface="Century Gothic"/>
              </a:rPr>
              <a:t> - </a:t>
            </a:r>
            <a:r>
              <a:rPr lang="en-US" b="1" dirty="0">
                <a:latin typeface="Century Gothic"/>
              </a:rPr>
              <a:t>ES5</a:t>
            </a:r>
            <a:r>
              <a:rPr lang="en-US" dirty="0">
                <a:latin typeface="Century Gothic"/>
              </a:rPr>
              <a:t>: Added </a:t>
            </a:r>
            <a:r>
              <a:rPr lang="en-US" i="1" dirty="0">
                <a:latin typeface="Century Gothic"/>
              </a:rPr>
              <a:t>strict mode</a:t>
            </a:r>
            <a:r>
              <a:rPr lang="en-US" dirty="0">
                <a:latin typeface="Century Gothic"/>
              </a:rPr>
              <a:t>, </a:t>
            </a:r>
            <a:r>
              <a:rPr lang="en-US" i="1" dirty="0">
                <a:latin typeface="Century Gothic"/>
              </a:rPr>
              <a:t>getters</a:t>
            </a:r>
            <a:r>
              <a:rPr lang="en-US" dirty="0">
                <a:latin typeface="Century Gothic"/>
              </a:rPr>
              <a:t> and </a:t>
            </a:r>
            <a:r>
              <a:rPr lang="en-US" i="1" dirty="0">
                <a:latin typeface="Century Gothic"/>
              </a:rPr>
              <a:t>setters</a:t>
            </a:r>
            <a:r>
              <a:rPr lang="en-US" dirty="0">
                <a:latin typeface="Century Gothic"/>
              </a:rPr>
              <a:t>, </a:t>
            </a:r>
            <a:r>
              <a:rPr lang="en-US" i="1" dirty="0">
                <a:latin typeface="Century Gothic"/>
              </a:rPr>
              <a:t>JSON</a:t>
            </a:r>
            <a:r>
              <a:rPr lang="en-US" dirty="0">
                <a:latin typeface="Century Gothic"/>
              </a:rPr>
              <a:t> support and and improved </a:t>
            </a:r>
            <a:r>
              <a:rPr lang="en-US" i="1" dirty="0">
                <a:latin typeface="Century Gothic"/>
              </a:rPr>
              <a:t>reflection</a:t>
            </a:r>
            <a:r>
              <a:rPr lang="en-US" dirty="0">
                <a:latin typeface="Century Gothic"/>
              </a:rPr>
              <a:t> toolkit. Most current browsers implement this version.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b="1" dirty="0">
                <a:latin typeface="Century Gothic"/>
              </a:rPr>
              <a:t>2015</a:t>
            </a:r>
            <a:r>
              <a:rPr lang="en-US" dirty="0">
                <a:latin typeface="Century Gothic"/>
              </a:rPr>
              <a:t> - </a:t>
            </a:r>
            <a:r>
              <a:rPr lang="en-US" b="1" dirty="0">
                <a:latin typeface="Century Gothic"/>
              </a:rPr>
              <a:t>ES6</a:t>
            </a:r>
            <a:r>
              <a:rPr lang="en-US" dirty="0">
                <a:latin typeface="Century Gothic"/>
              </a:rPr>
              <a:t>: Added </a:t>
            </a:r>
            <a:r>
              <a:rPr lang="en-US" i="1" dirty="0">
                <a:latin typeface="Century Gothic"/>
              </a:rPr>
              <a:t>let</a:t>
            </a:r>
            <a:r>
              <a:rPr lang="en-US" dirty="0">
                <a:latin typeface="Century Gothic"/>
              </a:rPr>
              <a:t> and </a:t>
            </a:r>
            <a:r>
              <a:rPr lang="en-US" i="1" dirty="0">
                <a:latin typeface="Century Gothic"/>
              </a:rPr>
              <a:t>const</a:t>
            </a:r>
            <a:r>
              <a:rPr lang="en-US" dirty="0">
                <a:latin typeface="Century Gothic"/>
              </a:rPr>
              <a:t>, </a:t>
            </a:r>
            <a:r>
              <a:rPr lang="en-US" i="1" dirty="0">
                <a:latin typeface="Century Gothic"/>
              </a:rPr>
              <a:t>classes</a:t>
            </a:r>
            <a:r>
              <a:rPr lang="en-US" dirty="0">
                <a:latin typeface="Century Gothic"/>
              </a:rPr>
              <a:t> and </a:t>
            </a:r>
            <a:r>
              <a:rPr lang="en-US" i="1" dirty="0">
                <a:latin typeface="Century Gothic"/>
              </a:rPr>
              <a:t>modules</a:t>
            </a:r>
            <a:r>
              <a:rPr lang="en-US" dirty="0">
                <a:latin typeface="Century Gothic"/>
              </a:rPr>
              <a:t>, </a:t>
            </a:r>
            <a:r>
              <a:rPr lang="en-US" i="1" dirty="0">
                <a:latin typeface="Century Gothic"/>
              </a:rPr>
              <a:t>string templates</a:t>
            </a:r>
            <a:r>
              <a:rPr lang="en-US" dirty="0">
                <a:latin typeface="Century Gothic"/>
              </a:rPr>
              <a:t>/</a:t>
            </a:r>
            <a:r>
              <a:rPr lang="en-US" i="1" dirty="0">
                <a:latin typeface="Century Gothic"/>
              </a:rPr>
              <a:t>interpolation</a:t>
            </a:r>
            <a:r>
              <a:rPr lang="en-US" dirty="0">
                <a:latin typeface="Century Gothic"/>
              </a:rPr>
              <a:t>, </a:t>
            </a:r>
            <a:r>
              <a:rPr lang="en-US" i="1" dirty="0">
                <a:latin typeface="Century Gothic"/>
              </a:rPr>
              <a:t>for</a:t>
            </a:r>
            <a:r>
              <a:rPr lang="en-US" dirty="0">
                <a:latin typeface="Century Gothic"/>
              </a:rPr>
              <a:t>/</a:t>
            </a:r>
            <a:r>
              <a:rPr lang="en-US" i="1" dirty="0">
                <a:latin typeface="Century Gothic"/>
              </a:rPr>
              <a:t>of</a:t>
            </a:r>
            <a:r>
              <a:rPr lang="en-US" dirty="0">
                <a:latin typeface="Century Gothic"/>
              </a:rPr>
              <a:t> iterators, </a:t>
            </a:r>
            <a:r>
              <a:rPr lang="en-US" i="1" dirty="0">
                <a:latin typeface="Century Gothic"/>
              </a:rPr>
              <a:t>generators</a:t>
            </a:r>
            <a:r>
              <a:rPr lang="en-US" dirty="0">
                <a:latin typeface="Century Gothic"/>
              </a:rPr>
              <a:t>, </a:t>
            </a:r>
            <a:r>
              <a:rPr lang="en-US" i="1" dirty="0">
                <a:latin typeface="Century Gothic"/>
              </a:rPr>
              <a:t>collections</a:t>
            </a:r>
            <a:r>
              <a:rPr lang="en-US" dirty="0">
                <a:latin typeface="Century Gothic"/>
              </a:rPr>
              <a:t> and </a:t>
            </a:r>
            <a:r>
              <a:rPr lang="en-US" i="1" dirty="0">
                <a:latin typeface="Century Gothic"/>
              </a:rPr>
              <a:t>proxies</a:t>
            </a:r>
            <a:r>
              <a:rPr lang="en-US" dirty="0">
                <a:latin typeface="Century Gothic"/>
              </a:rPr>
              <a:t>. From this version on, the naming is based on the year of release.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b="1" dirty="0">
                <a:latin typeface="Century Gothic"/>
              </a:rPr>
              <a:t>2016</a:t>
            </a:r>
            <a:r>
              <a:rPr lang="en-US" dirty="0">
                <a:latin typeface="Century Gothic"/>
              </a:rPr>
              <a:t> - </a:t>
            </a:r>
            <a:r>
              <a:rPr lang="en-US" b="1" dirty="0">
                <a:latin typeface="Century Gothic"/>
              </a:rPr>
              <a:t>ES7</a:t>
            </a:r>
            <a:r>
              <a:rPr lang="en-US" dirty="0">
                <a:latin typeface="Century Gothic"/>
              </a:rPr>
              <a:t>: Builds on ES6 concepts aiming to improve code isolation and library usage. A lot of features were included on early drafts, including </a:t>
            </a:r>
            <a:r>
              <a:rPr lang="en-US" i="1" dirty="0">
                <a:latin typeface="Century Gothic"/>
              </a:rPr>
              <a:t>type guards</a:t>
            </a:r>
            <a:r>
              <a:rPr lang="en-US" dirty="0">
                <a:latin typeface="Century Gothic"/>
              </a:rPr>
              <a:t>, better </a:t>
            </a:r>
            <a:r>
              <a:rPr lang="en-US" i="1" dirty="0">
                <a:latin typeface="Century Gothic"/>
              </a:rPr>
              <a:t>promise</a:t>
            </a:r>
            <a:r>
              <a:rPr lang="en-US" dirty="0">
                <a:latin typeface="Century Gothic"/>
              </a:rPr>
              <a:t> management tooling and </a:t>
            </a:r>
            <a:r>
              <a:rPr lang="en-US" i="1" dirty="0">
                <a:latin typeface="Century Gothic"/>
              </a:rPr>
              <a:t>traits</a:t>
            </a:r>
            <a:r>
              <a:rPr lang="en-US" dirty="0">
                <a:latin typeface="Century Gothic"/>
              </a:rPr>
              <a:t>, but most of them were not implemented.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b="1" dirty="0">
                <a:latin typeface="Century Gothic"/>
              </a:rPr>
              <a:t>2017</a:t>
            </a:r>
            <a:r>
              <a:rPr lang="en-US" dirty="0">
                <a:latin typeface="Century Gothic"/>
              </a:rPr>
              <a:t> - </a:t>
            </a:r>
            <a:r>
              <a:rPr lang="en-US" b="1" dirty="0">
                <a:latin typeface="Century Gothic"/>
              </a:rPr>
              <a:t>ES8</a:t>
            </a:r>
            <a:r>
              <a:rPr lang="en-US" dirty="0">
                <a:latin typeface="Century Gothic"/>
              </a:rPr>
              <a:t>: Added </a:t>
            </a:r>
            <a:r>
              <a:rPr lang="en-US" i="1" dirty="0">
                <a:latin typeface="Century Gothic"/>
              </a:rPr>
              <a:t>async</a:t>
            </a:r>
            <a:r>
              <a:rPr lang="en-US" dirty="0">
                <a:latin typeface="Century Gothic"/>
              </a:rPr>
              <a:t>/</a:t>
            </a:r>
            <a:r>
              <a:rPr lang="en-US" i="1" dirty="0">
                <a:latin typeface="Century Gothic"/>
              </a:rPr>
              <a:t>await</a:t>
            </a:r>
            <a:r>
              <a:rPr lang="en-US" dirty="0">
                <a:latin typeface="Century Gothic"/>
              </a:rPr>
              <a:t> operators, which work using </a:t>
            </a:r>
            <a:r>
              <a:rPr lang="en-US" i="1" dirty="0">
                <a:latin typeface="Century Gothic"/>
              </a:rPr>
              <a:t>promises</a:t>
            </a:r>
            <a:r>
              <a:rPr lang="en-US" dirty="0">
                <a:latin typeface="Century Gothic"/>
              </a:rPr>
              <a:t> and </a:t>
            </a:r>
            <a:r>
              <a:rPr lang="en-US" i="1" dirty="0">
                <a:latin typeface="Century Gothic"/>
              </a:rPr>
              <a:t>generators</a:t>
            </a:r>
            <a:r>
              <a:rPr lang="en-US" dirty="0">
                <a:latin typeface="Century Gothic"/>
              </a:rPr>
              <a:t>.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b="1" dirty="0">
                <a:latin typeface="Century Gothic"/>
              </a:rPr>
              <a:t>2018</a:t>
            </a:r>
            <a:r>
              <a:rPr lang="en-US" dirty="0">
                <a:latin typeface="Century Gothic"/>
              </a:rPr>
              <a:t> - </a:t>
            </a:r>
            <a:r>
              <a:rPr lang="en-US" b="1" dirty="0">
                <a:latin typeface="Century Gothic"/>
              </a:rPr>
              <a:t>ES9</a:t>
            </a:r>
            <a:r>
              <a:rPr lang="en-US" dirty="0">
                <a:latin typeface="Century Gothic"/>
              </a:rPr>
              <a:t>: Added </a:t>
            </a:r>
            <a:r>
              <a:rPr lang="en-US" i="1" dirty="0">
                <a:latin typeface="Century Gothic"/>
              </a:rPr>
              <a:t>rest</a:t>
            </a:r>
            <a:r>
              <a:rPr lang="en-US" dirty="0">
                <a:latin typeface="Century Gothic"/>
              </a:rPr>
              <a:t>/</a:t>
            </a:r>
            <a:r>
              <a:rPr lang="en-US" i="1" dirty="0">
                <a:latin typeface="Century Gothic"/>
              </a:rPr>
              <a:t>spread</a:t>
            </a:r>
            <a:r>
              <a:rPr lang="en-US" dirty="0">
                <a:latin typeface="Century Gothic"/>
              </a:rPr>
              <a:t> operators and </a:t>
            </a:r>
            <a:r>
              <a:rPr lang="en-US" i="1" dirty="0">
                <a:latin typeface="Century Gothic"/>
              </a:rPr>
              <a:t>asynchronous</a:t>
            </a:r>
            <a:r>
              <a:rPr lang="en-US" dirty="0">
                <a:latin typeface="Century Gothic"/>
              </a:rPr>
              <a:t> iteration.</a:t>
            </a:r>
          </a:p>
          <a:p>
            <a:pPr marL="342900" indent="-342900">
              <a:spcBef>
                <a:spcPct val="20000"/>
              </a:spcBef>
              <a:buFont typeface="Wingdings" pitchFamily="2" charset="2"/>
              <a:buChar char="§"/>
            </a:pPr>
            <a:r>
              <a:rPr lang="en-US" b="1" dirty="0">
                <a:latin typeface="Century Gothic"/>
              </a:rPr>
              <a:t>2019</a:t>
            </a:r>
            <a:r>
              <a:rPr lang="en-US" dirty="0">
                <a:latin typeface="Century Gothic"/>
              </a:rPr>
              <a:t> - </a:t>
            </a:r>
            <a:r>
              <a:rPr lang="en-US" b="1" dirty="0">
                <a:latin typeface="Century Gothic"/>
              </a:rPr>
              <a:t>ES10</a:t>
            </a:r>
            <a:r>
              <a:rPr lang="en-US" dirty="0">
                <a:latin typeface="Century Gothic"/>
              </a:rPr>
              <a:t>: Added </a:t>
            </a:r>
            <a:r>
              <a:rPr lang="en-US" i="1" dirty="0">
                <a:latin typeface="Century Gothic"/>
              </a:rPr>
              <a:t>flat</a:t>
            </a:r>
            <a:r>
              <a:rPr lang="en-US" dirty="0">
                <a:latin typeface="Century Gothic"/>
              </a:rPr>
              <a:t> and </a:t>
            </a:r>
            <a:r>
              <a:rPr lang="en-US" i="1" dirty="0" err="1">
                <a:latin typeface="Century Gothic"/>
              </a:rPr>
              <a:t>flatMap</a:t>
            </a:r>
            <a:r>
              <a:rPr lang="en-US" dirty="0">
                <a:latin typeface="Century Gothic"/>
              </a:rPr>
              <a:t> operators for </a:t>
            </a:r>
            <a:r>
              <a:rPr lang="en-US" i="1" dirty="0">
                <a:latin typeface="Century Gothic"/>
              </a:rPr>
              <a:t>array objects</a:t>
            </a:r>
            <a:r>
              <a:rPr lang="en-US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1600" dirty="0">
                <a:latin typeface="Century Gothic"/>
              </a:rPr>
              <a:t>* ES2 and ES5.1 only featured editorial changes.</a:t>
            </a:r>
          </a:p>
          <a:p>
            <a:pPr>
              <a:spcBef>
                <a:spcPct val="20000"/>
              </a:spcBef>
            </a:pPr>
            <a:r>
              <a:rPr lang="en-US" sz="1600" dirty="0">
                <a:latin typeface="Century Gothic"/>
              </a:rPr>
              <a:t>* ES4 was never released.</a:t>
            </a:r>
          </a:p>
        </p:txBody>
      </p:sp>
      <p:pic>
        <p:nvPicPr>
          <p:cNvPr id="41537" name="Picture 577">
            <a:extLst>
              <a:ext uri="{FF2B5EF4-FFF2-40B4-BE49-F238E27FC236}">
                <a16:creationId xmlns:a16="http://schemas.microsoft.com/office/drawing/2014/main" id="{468E00A5-3FA0-A848-B9BF-6487463C30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0" y="1096874"/>
            <a:ext cx="1268184" cy="1268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23">
            <a:extLst>
              <a:ext uri="{FF2B5EF4-FFF2-40B4-BE49-F238E27FC236}">
                <a16:creationId xmlns:a16="http://schemas.microsoft.com/office/drawing/2014/main" id="{D17781F2-1020-4343-B88F-03234841DEB0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JavaScript</a:t>
            </a:r>
            <a:endParaRPr lang="es-ES" i="1" dirty="0"/>
          </a:p>
        </p:txBody>
      </p:sp>
    </p:spTree>
    <p:extLst>
      <p:ext uri="{BB962C8B-B14F-4D97-AF65-F5344CB8AC3E}">
        <p14:creationId xmlns:p14="http://schemas.microsoft.com/office/powerpoint/2010/main" val="5962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>
                <a:solidFill>
                  <a:schemeClr val="bg1"/>
                </a:solidFill>
                <a:latin typeface="Century Gothic"/>
              </a:rPr>
              <a:t>Introduction</a:t>
            </a:r>
            <a:endParaRPr lang="es-ES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2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b="1" dirty="0">
                <a:latin typeface="Century Gothic"/>
              </a:rPr>
              <a:t>Features: Prototype</a:t>
            </a:r>
          </a:p>
          <a:p>
            <a:pPr>
              <a:spcBef>
                <a:spcPct val="20000"/>
              </a:spcBef>
            </a:pPr>
            <a:r>
              <a:rPr lang="en-US" sz="1600" dirty="0">
                <a:latin typeface="Century Gothic"/>
              </a:rPr>
              <a:t>The </a:t>
            </a:r>
            <a:r>
              <a:rPr lang="en-US" sz="1600" i="1" dirty="0">
                <a:latin typeface="Century Gothic"/>
              </a:rPr>
              <a:t>prototype</a:t>
            </a:r>
            <a:r>
              <a:rPr lang="en-US" sz="1600" dirty="0">
                <a:latin typeface="Century Gothic"/>
              </a:rPr>
              <a:t> system is </a:t>
            </a:r>
            <a:r>
              <a:rPr lang="en-US" sz="1600" b="1" dirty="0">
                <a:latin typeface="Century Gothic"/>
              </a:rPr>
              <a:t>used</a:t>
            </a:r>
            <a:r>
              <a:rPr lang="en-US" sz="1600" dirty="0">
                <a:latin typeface="Century Gothic"/>
              </a:rPr>
              <a:t> by </a:t>
            </a:r>
            <a:r>
              <a:rPr lang="en-US" sz="1600" i="1" dirty="0">
                <a:latin typeface="Century Gothic"/>
              </a:rPr>
              <a:t>JavaScript </a:t>
            </a:r>
            <a:r>
              <a:rPr lang="en-US" sz="1600" dirty="0">
                <a:latin typeface="Century Gothic"/>
              </a:rPr>
              <a:t>to </a:t>
            </a:r>
            <a:r>
              <a:rPr lang="en-US" sz="1600" b="1" dirty="0">
                <a:latin typeface="Century Gothic"/>
              </a:rPr>
              <a:t>provide </a:t>
            </a:r>
            <a:r>
              <a:rPr lang="en-US" sz="1600" b="1" i="1" dirty="0">
                <a:latin typeface="Century Gothic"/>
              </a:rPr>
              <a:t>object-orientation</a:t>
            </a:r>
            <a:r>
              <a:rPr lang="en-US" sz="1600" dirty="0">
                <a:latin typeface="Century Gothic"/>
              </a:rPr>
              <a:t>. While a </a:t>
            </a:r>
            <a:r>
              <a:rPr lang="en-US" sz="1600" i="1" dirty="0">
                <a:latin typeface="Century Gothic"/>
              </a:rPr>
              <a:t>class</a:t>
            </a:r>
            <a:r>
              <a:rPr lang="en-US" sz="1600" dirty="0">
                <a:latin typeface="Century Gothic"/>
              </a:rPr>
              <a:t> keyword was </a:t>
            </a:r>
          </a:p>
          <a:p>
            <a:pPr>
              <a:spcBef>
                <a:spcPct val="20000"/>
              </a:spcBef>
            </a:pPr>
            <a:r>
              <a:rPr lang="en-US" sz="1600" dirty="0">
                <a:latin typeface="Century Gothic"/>
              </a:rPr>
              <a:t>introduced on </a:t>
            </a:r>
            <a:r>
              <a:rPr lang="en-US" sz="1600" i="1" dirty="0">
                <a:latin typeface="Century Gothic"/>
              </a:rPr>
              <a:t>ES6</a:t>
            </a:r>
            <a:r>
              <a:rPr lang="en-US" sz="1600" dirty="0">
                <a:latin typeface="Century Gothic"/>
              </a:rPr>
              <a:t>, it’s just syntactic sugar to ease usage for developers.</a:t>
            </a: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1600" b="1" dirty="0">
                <a:latin typeface="Century Gothic"/>
              </a:rPr>
              <a:t>All </a:t>
            </a:r>
            <a:r>
              <a:rPr lang="en-US" sz="1600" b="1" i="1" dirty="0">
                <a:latin typeface="Century Gothic"/>
              </a:rPr>
              <a:t>JavaScript objects</a:t>
            </a:r>
            <a:r>
              <a:rPr lang="en-US" sz="1600" b="1" dirty="0">
                <a:latin typeface="Century Gothic"/>
              </a:rPr>
              <a:t> are instances of </a:t>
            </a:r>
            <a:r>
              <a:rPr lang="en-US" sz="1600" b="1" i="1" dirty="0">
                <a:latin typeface="Century Gothic"/>
              </a:rPr>
              <a:t>Object</a:t>
            </a:r>
            <a:r>
              <a:rPr lang="en-US" sz="1600" dirty="0">
                <a:latin typeface="Century Gothic"/>
              </a:rPr>
              <a:t>, which sits on top of the </a:t>
            </a:r>
            <a:r>
              <a:rPr lang="en-US" sz="1600" i="1" dirty="0">
                <a:latin typeface="Century Gothic"/>
              </a:rPr>
              <a:t>prototype </a:t>
            </a:r>
            <a:r>
              <a:rPr lang="en-US" sz="1600" dirty="0">
                <a:latin typeface="Century Gothic"/>
              </a:rPr>
              <a:t>chain.</a:t>
            </a:r>
          </a:p>
          <a:p>
            <a:pPr>
              <a:spcBef>
                <a:spcPct val="20000"/>
              </a:spcBef>
            </a:pPr>
            <a:r>
              <a:rPr lang="en-US" sz="1600" b="1" dirty="0">
                <a:latin typeface="Century Gothic"/>
              </a:rPr>
              <a:t>Inheritance</a:t>
            </a:r>
            <a:r>
              <a:rPr lang="en-US" sz="1600" dirty="0">
                <a:latin typeface="Century Gothic"/>
              </a:rPr>
              <a:t> is implemented by adding a </a:t>
            </a:r>
            <a:r>
              <a:rPr lang="en-US" sz="1600" b="1" i="1" dirty="0">
                <a:latin typeface="Century Gothic"/>
              </a:rPr>
              <a:t>link</a:t>
            </a:r>
            <a:r>
              <a:rPr lang="en-US" sz="1600" b="1" dirty="0">
                <a:latin typeface="Century Gothic"/>
              </a:rPr>
              <a:t> to the parent </a:t>
            </a:r>
            <a:r>
              <a:rPr lang="en-US" sz="1600" b="1" i="1" dirty="0">
                <a:latin typeface="Century Gothic"/>
              </a:rPr>
              <a:t>prototype</a:t>
            </a:r>
            <a:r>
              <a:rPr lang="en-US" sz="1600" dirty="0">
                <a:latin typeface="Century Gothic"/>
              </a:rPr>
              <a:t> within the </a:t>
            </a:r>
            <a:r>
              <a:rPr lang="en-US" sz="1600" i="1" dirty="0">
                <a:latin typeface="Century Gothic"/>
              </a:rPr>
              <a:t>object</a:t>
            </a:r>
            <a:r>
              <a:rPr lang="en-US" sz="1600" dirty="0">
                <a:latin typeface="Century Gothic"/>
              </a:rPr>
              <a:t> itself. Each </a:t>
            </a:r>
            <a:r>
              <a:rPr lang="en-US" sz="1600" i="1" dirty="0">
                <a:latin typeface="Century Gothic"/>
              </a:rPr>
              <a:t>object</a:t>
            </a:r>
            <a:r>
              <a:rPr lang="en-US" sz="1600" dirty="0">
                <a:latin typeface="Century Gothic"/>
              </a:rPr>
              <a:t> may define its parent until one of them defines </a:t>
            </a:r>
            <a:r>
              <a:rPr lang="en-US" sz="1600" i="1" dirty="0">
                <a:latin typeface="Century Gothic"/>
              </a:rPr>
              <a:t>null</a:t>
            </a:r>
            <a:r>
              <a:rPr lang="en-US" sz="1600" dirty="0">
                <a:latin typeface="Century Gothic"/>
              </a:rPr>
              <a:t>* as its parent.</a:t>
            </a: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1600" dirty="0">
                <a:latin typeface="Century Gothic"/>
              </a:rPr>
              <a:t>While this system is somewhat confusing at first, the </a:t>
            </a:r>
            <a:r>
              <a:rPr lang="en-US" sz="1600" i="1" dirty="0">
                <a:latin typeface="Century Gothic"/>
              </a:rPr>
              <a:t>prototypal </a:t>
            </a:r>
            <a:r>
              <a:rPr lang="en-US" sz="1600" dirty="0">
                <a:latin typeface="Century Gothic"/>
              </a:rPr>
              <a:t>inheritance model itself is more powerful than the classic one.</a:t>
            </a: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1600" dirty="0">
                <a:latin typeface="Century Gothic"/>
              </a:rPr>
              <a:t>It is extremely important to note that</a:t>
            </a:r>
            <a:r>
              <a:rPr lang="en-US" sz="1600" b="1" dirty="0">
                <a:latin typeface="Century Gothic"/>
              </a:rPr>
              <a:t> extending native prototypes or prototypes you don’t own is a terrible practice</a:t>
            </a:r>
            <a:r>
              <a:rPr lang="en-US" sz="1600" dirty="0">
                <a:latin typeface="Century Gothic"/>
              </a:rPr>
              <a:t> – sometimes referred to as </a:t>
            </a:r>
            <a:r>
              <a:rPr lang="en-US" sz="1600" i="1" dirty="0">
                <a:latin typeface="Century Gothic"/>
              </a:rPr>
              <a:t>monkey patching</a:t>
            </a:r>
            <a:r>
              <a:rPr lang="en-US" sz="1600" dirty="0">
                <a:latin typeface="Century Gothic"/>
              </a:rPr>
              <a:t> – and should be avoided at all costs.</a:t>
            </a: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1600" dirty="0">
                <a:latin typeface="Century Gothic"/>
              </a:rPr>
              <a:t>* By default, </a:t>
            </a:r>
            <a:r>
              <a:rPr lang="en-US" sz="1600" i="1" dirty="0">
                <a:latin typeface="Century Gothic"/>
              </a:rPr>
              <a:t>null</a:t>
            </a:r>
            <a:r>
              <a:rPr lang="en-US" sz="1600" dirty="0">
                <a:latin typeface="Century Gothic"/>
              </a:rPr>
              <a:t> has no </a:t>
            </a:r>
            <a:r>
              <a:rPr lang="en-US" sz="1600" i="1" dirty="0">
                <a:latin typeface="Century Gothic"/>
              </a:rPr>
              <a:t>prototype</a:t>
            </a:r>
            <a:r>
              <a:rPr lang="en-US" sz="1600" dirty="0">
                <a:latin typeface="Century Gothic"/>
              </a:rPr>
              <a:t> and acts as the final link in the </a:t>
            </a:r>
            <a:r>
              <a:rPr lang="en-US" sz="1600" i="1" dirty="0">
                <a:latin typeface="Century Gothic"/>
              </a:rPr>
              <a:t>prototype chain</a:t>
            </a:r>
            <a:r>
              <a:rPr lang="en-US" sz="1600" dirty="0">
                <a:latin typeface="Century Gothic"/>
              </a:rPr>
              <a:t>.</a:t>
            </a:r>
            <a:endParaRPr lang="en-US" sz="1400" dirty="0">
              <a:latin typeface="Century Gothic"/>
            </a:endParaRPr>
          </a:p>
        </p:txBody>
      </p:sp>
      <p:pic>
        <p:nvPicPr>
          <p:cNvPr id="41537" name="Picture 577">
            <a:extLst>
              <a:ext uri="{FF2B5EF4-FFF2-40B4-BE49-F238E27FC236}">
                <a16:creationId xmlns:a16="http://schemas.microsoft.com/office/drawing/2014/main" id="{468E00A5-3FA0-A848-B9BF-6487463C30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0" y="1096874"/>
            <a:ext cx="1268184" cy="1268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23">
            <a:extLst>
              <a:ext uri="{FF2B5EF4-FFF2-40B4-BE49-F238E27FC236}">
                <a16:creationId xmlns:a16="http://schemas.microsoft.com/office/drawing/2014/main" id="{D17781F2-1020-4343-B88F-03234841DEB0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JavaScript</a:t>
            </a:r>
            <a:endParaRPr lang="es-ES" i="1" dirty="0"/>
          </a:p>
        </p:txBody>
      </p:sp>
    </p:spTree>
    <p:extLst>
      <p:ext uri="{BB962C8B-B14F-4D97-AF65-F5344CB8AC3E}">
        <p14:creationId xmlns:p14="http://schemas.microsoft.com/office/powerpoint/2010/main" val="3647301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2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b="1" dirty="0">
                <a:latin typeface="Century Gothic"/>
              </a:rPr>
              <a:t>Features: Prototype</a:t>
            </a: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b="1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b="1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A4FBB38A-5673-B343-8A22-C5F9D3568034}"/>
              </a:ext>
            </a:extLst>
          </p:cNvPr>
          <p:cNvSpPr/>
          <p:nvPr/>
        </p:nvSpPr>
        <p:spPr>
          <a:xfrm>
            <a:off x="8108355" y="1730965"/>
            <a:ext cx="3735301" cy="431060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  <a:cs typeface="Calibri"/>
              </a:rPr>
              <a:t>// Using the </a:t>
            </a:r>
            <a:r>
              <a:rPr lang="en-US" sz="1200" i="1" dirty="0">
                <a:latin typeface="Consolas"/>
                <a:cs typeface="Calibri"/>
              </a:rPr>
              <a:t>class</a:t>
            </a:r>
            <a:r>
              <a:rPr lang="en-US" sz="1200" dirty="0">
                <a:latin typeface="Consolas"/>
                <a:cs typeface="Calibri"/>
              </a:rPr>
              <a:t> keyword</a:t>
            </a:r>
          </a:p>
          <a:p>
            <a:r>
              <a:rPr lang="en-US" sz="1200" dirty="0">
                <a:latin typeface="Consolas"/>
                <a:cs typeface="Calibri"/>
              </a:rPr>
              <a:t>class Polygon {</a:t>
            </a:r>
          </a:p>
          <a:p>
            <a:r>
              <a:rPr lang="en-US" sz="1200" dirty="0">
                <a:latin typeface="Consolas"/>
                <a:cs typeface="Calibri"/>
              </a:rPr>
              <a:t>  constructor(height, width) {</a:t>
            </a:r>
          </a:p>
          <a:p>
            <a:r>
              <a:rPr lang="en-US" sz="1200" dirty="0">
                <a:latin typeface="Consolas"/>
                <a:cs typeface="Calibri"/>
              </a:rPr>
              <a:t>    </a:t>
            </a:r>
            <a:r>
              <a:rPr lang="en-US" sz="1200" dirty="0" err="1">
                <a:latin typeface="Consolas"/>
                <a:cs typeface="Calibri"/>
              </a:rPr>
              <a:t>this.height</a:t>
            </a:r>
            <a:r>
              <a:rPr lang="en-US" sz="1200" dirty="0">
                <a:latin typeface="Consolas"/>
                <a:cs typeface="Calibri"/>
              </a:rPr>
              <a:t> = height;</a:t>
            </a:r>
          </a:p>
          <a:p>
            <a:r>
              <a:rPr lang="en-US" sz="1200" dirty="0">
                <a:latin typeface="Consolas"/>
                <a:cs typeface="Calibri"/>
              </a:rPr>
              <a:t>    </a:t>
            </a:r>
            <a:r>
              <a:rPr lang="en-US" sz="1200" dirty="0" err="1">
                <a:latin typeface="Consolas"/>
                <a:cs typeface="Calibri"/>
              </a:rPr>
              <a:t>this.width</a:t>
            </a:r>
            <a:r>
              <a:rPr lang="en-US" sz="1200" dirty="0">
                <a:latin typeface="Consolas"/>
                <a:cs typeface="Calibri"/>
              </a:rPr>
              <a:t> = width;</a:t>
            </a:r>
          </a:p>
          <a:p>
            <a:r>
              <a:rPr lang="en-US" sz="1200" dirty="0">
                <a:latin typeface="Consolas"/>
                <a:cs typeface="Calibri"/>
              </a:rPr>
              <a:t>  }</a:t>
            </a:r>
          </a:p>
          <a:p>
            <a:r>
              <a:rPr lang="en-US" sz="1200" dirty="0">
                <a:latin typeface="Consolas"/>
                <a:cs typeface="Calibri"/>
              </a:rPr>
              <a:t>}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Inheritance can be done with the </a:t>
            </a:r>
          </a:p>
          <a:p>
            <a:r>
              <a:rPr lang="en-US" sz="1200" dirty="0">
                <a:latin typeface="Consolas"/>
                <a:cs typeface="Calibri"/>
              </a:rPr>
              <a:t>// </a:t>
            </a:r>
            <a:r>
              <a:rPr lang="en-US" sz="1200" i="1" dirty="0">
                <a:latin typeface="Consolas"/>
                <a:cs typeface="Calibri"/>
              </a:rPr>
              <a:t>extends </a:t>
            </a:r>
            <a:r>
              <a:rPr lang="en-US" sz="1200" dirty="0">
                <a:latin typeface="Consolas"/>
                <a:cs typeface="Calibri"/>
              </a:rPr>
              <a:t>keyword</a:t>
            </a:r>
          </a:p>
          <a:p>
            <a:r>
              <a:rPr lang="en-US" sz="1200" dirty="0">
                <a:latin typeface="Consolas"/>
                <a:cs typeface="Calibri"/>
              </a:rPr>
              <a:t>class Square extends Polygon {</a:t>
            </a:r>
          </a:p>
          <a:p>
            <a:r>
              <a:rPr lang="en-US" sz="1200" dirty="0">
                <a:latin typeface="Consolas"/>
                <a:cs typeface="Calibri"/>
              </a:rPr>
              <a:t>  constructor(</a:t>
            </a:r>
            <a:r>
              <a:rPr lang="en-US" sz="1200" dirty="0" err="1">
                <a:latin typeface="Consolas"/>
                <a:cs typeface="Calibri"/>
              </a:rPr>
              <a:t>sideLength</a:t>
            </a:r>
            <a:r>
              <a:rPr lang="en-US" sz="1200" dirty="0">
                <a:latin typeface="Consolas"/>
                <a:cs typeface="Calibri"/>
              </a:rPr>
              <a:t>) {</a:t>
            </a:r>
          </a:p>
          <a:p>
            <a:r>
              <a:rPr lang="en-US" sz="1200" dirty="0">
                <a:latin typeface="Consolas"/>
                <a:cs typeface="Calibri"/>
              </a:rPr>
              <a:t>    super(</a:t>
            </a:r>
            <a:r>
              <a:rPr lang="en-US" sz="1200" dirty="0" err="1">
                <a:latin typeface="Consolas"/>
                <a:cs typeface="Calibri"/>
              </a:rPr>
              <a:t>sideLength</a:t>
            </a:r>
            <a:r>
              <a:rPr lang="en-US" sz="1200" dirty="0">
                <a:latin typeface="Consolas"/>
                <a:cs typeface="Calibri"/>
              </a:rPr>
              <a:t>, </a:t>
            </a:r>
            <a:r>
              <a:rPr lang="en-US" sz="1200" dirty="0" err="1">
                <a:latin typeface="Consolas"/>
                <a:cs typeface="Calibri"/>
              </a:rPr>
              <a:t>sideLength</a:t>
            </a:r>
            <a:r>
              <a:rPr lang="en-US" sz="1200" dirty="0">
                <a:latin typeface="Consolas"/>
                <a:cs typeface="Calibri"/>
              </a:rPr>
              <a:t>);</a:t>
            </a:r>
          </a:p>
          <a:p>
            <a:r>
              <a:rPr lang="en-US" sz="1200" dirty="0">
                <a:latin typeface="Consolas"/>
                <a:cs typeface="Calibri"/>
              </a:rPr>
              <a:t>  }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  get area() {</a:t>
            </a:r>
          </a:p>
          <a:p>
            <a:r>
              <a:rPr lang="en-US" sz="1200" dirty="0">
                <a:latin typeface="Consolas"/>
                <a:cs typeface="Calibri"/>
              </a:rPr>
              <a:t>    return </a:t>
            </a:r>
            <a:r>
              <a:rPr lang="en-US" sz="1200" dirty="0" err="1">
                <a:latin typeface="Consolas"/>
                <a:cs typeface="Calibri"/>
              </a:rPr>
              <a:t>this.height</a:t>
            </a:r>
            <a:r>
              <a:rPr lang="en-US" sz="1200" dirty="0">
                <a:latin typeface="Consolas"/>
                <a:cs typeface="Calibri"/>
              </a:rPr>
              <a:t> * </a:t>
            </a:r>
            <a:r>
              <a:rPr lang="en-US" sz="1200" dirty="0" err="1">
                <a:latin typeface="Consolas"/>
                <a:cs typeface="Calibri"/>
              </a:rPr>
              <a:t>this.width</a:t>
            </a:r>
            <a:r>
              <a:rPr lang="en-US" sz="1200" dirty="0">
                <a:latin typeface="Consolas"/>
                <a:cs typeface="Calibri"/>
              </a:rPr>
              <a:t>;</a:t>
            </a:r>
          </a:p>
          <a:p>
            <a:r>
              <a:rPr lang="en-US" sz="1200" dirty="0">
                <a:latin typeface="Consolas"/>
                <a:cs typeface="Calibri"/>
              </a:rPr>
              <a:t>  }</a:t>
            </a:r>
          </a:p>
          <a:p>
            <a:r>
              <a:rPr lang="en-US" sz="1200" dirty="0">
                <a:latin typeface="Consolas"/>
                <a:cs typeface="Calibri"/>
              </a:rPr>
              <a:t>}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const square = new Square(2);</a:t>
            </a:r>
          </a:p>
          <a:p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</a:t>
            </a:r>
            <a:r>
              <a:rPr lang="en-US" sz="1200" dirty="0" err="1">
                <a:latin typeface="Consolas"/>
                <a:cs typeface="Calibri"/>
              </a:rPr>
              <a:t>square.area</a:t>
            </a:r>
            <a:r>
              <a:rPr lang="en-US" sz="1200" dirty="0">
                <a:latin typeface="Consolas"/>
                <a:cs typeface="Calibri"/>
              </a:rPr>
              <a:t>);</a:t>
            </a:r>
          </a:p>
        </p:txBody>
      </p:sp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>
                <a:solidFill>
                  <a:schemeClr val="bg1"/>
                </a:solidFill>
                <a:latin typeface="Century Gothic"/>
              </a:rPr>
              <a:t>Introduction</a:t>
            </a:r>
            <a:endParaRPr lang="es-ES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37" name="Picture 577">
            <a:extLst>
              <a:ext uri="{FF2B5EF4-FFF2-40B4-BE49-F238E27FC236}">
                <a16:creationId xmlns:a16="http://schemas.microsoft.com/office/drawing/2014/main" id="{468E00A5-3FA0-A848-B9BF-6487463C30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0" y="1096874"/>
            <a:ext cx="1268184" cy="1268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23">
            <a:extLst>
              <a:ext uri="{FF2B5EF4-FFF2-40B4-BE49-F238E27FC236}">
                <a16:creationId xmlns:a16="http://schemas.microsoft.com/office/drawing/2014/main" id="{D17781F2-1020-4343-B88F-03234841DEB0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JavaScript</a:t>
            </a:r>
            <a:endParaRPr lang="es-ES" i="1" dirty="0"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EAD13079-1028-D148-B500-00D4BBEF75E6}"/>
              </a:ext>
            </a:extLst>
          </p:cNvPr>
          <p:cNvSpPr/>
          <p:nvPr/>
        </p:nvSpPr>
        <p:spPr>
          <a:xfrm>
            <a:off x="4428984" y="1730966"/>
            <a:ext cx="3506703" cy="431060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  <a:cs typeface="Calibri"/>
              </a:rPr>
              <a:t>// Create an object instance which has </a:t>
            </a:r>
          </a:p>
          <a:p>
            <a:r>
              <a:rPr lang="en-US" sz="1200" dirty="0">
                <a:latin typeface="Consolas"/>
                <a:cs typeface="Calibri"/>
              </a:rPr>
              <a:t>// properties and “</a:t>
            </a:r>
            <a:r>
              <a:rPr lang="en-US" sz="1200" i="1" dirty="0">
                <a:latin typeface="Consolas"/>
                <a:cs typeface="Calibri"/>
              </a:rPr>
              <a:t>methods</a:t>
            </a:r>
            <a:r>
              <a:rPr lang="en-US" sz="1200" dirty="0">
                <a:latin typeface="Consolas"/>
                <a:cs typeface="Calibri"/>
              </a:rPr>
              <a:t>”</a:t>
            </a:r>
          </a:p>
          <a:p>
            <a:r>
              <a:rPr lang="en-US" sz="1200" dirty="0">
                <a:latin typeface="Consolas"/>
                <a:cs typeface="Calibri"/>
              </a:rPr>
              <a:t>const obj = {</a:t>
            </a:r>
          </a:p>
          <a:p>
            <a:r>
              <a:rPr lang="en-US" sz="1200" dirty="0">
                <a:latin typeface="Consolas"/>
                <a:cs typeface="Calibri"/>
              </a:rPr>
              <a:t>  a: 2,</a:t>
            </a:r>
          </a:p>
          <a:p>
            <a:r>
              <a:rPr lang="en-US" sz="1200" dirty="0">
                <a:latin typeface="Consolas"/>
                <a:cs typeface="Calibri"/>
              </a:rPr>
              <a:t>  sum: function() {</a:t>
            </a:r>
          </a:p>
          <a:p>
            <a:r>
              <a:rPr lang="en-US" sz="1200" dirty="0">
                <a:latin typeface="Consolas"/>
                <a:cs typeface="Calibri"/>
              </a:rPr>
              <a:t>    return </a:t>
            </a:r>
            <a:r>
              <a:rPr lang="en-US" sz="1200" dirty="0" err="1">
                <a:latin typeface="Consolas"/>
                <a:cs typeface="Calibri"/>
              </a:rPr>
              <a:t>this.a</a:t>
            </a:r>
            <a:r>
              <a:rPr lang="en-US" sz="1200" dirty="0">
                <a:latin typeface="Consolas"/>
                <a:cs typeface="Calibri"/>
              </a:rPr>
              <a:t> + 1;</a:t>
            </a:r>
          </a:p>
          <a:p>
            <a:r>
              <a:rPr lang="en-US" sz="1200" dirty="0">
                <a:latin typeface="Consolas"/>
                <a:cs typeface="Calibri"/>
              </a:rPr>
              <a:t>  }</a:t>
            </a:r>
          </a:p>
          <a:p>
            <a:r>
              <a:rPr lang="en-US" sz="1200" dirty="0">
                <a:latin typeface="Consolas"/>
                <a:cs typeface="Calibri"/>
              </a:rPr>
              <a:t>};</a:t>
            </a:r>
          </a:p>
          <a:p>
            <a:r>
              <a:rPr lang="en-US" sz="1200" dirty="0">
                <a:latin typeface="Consolas"/>
                <a:cs typeface="Calibri"/>
              </a:rPr>
              <a:t>// Invoke the method and see the result</a:t>
            </a:r>
          </a:p>
          <a:p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</a:t>
            </a:r>
            <a:r>
              <a:rPr lang="en-US" sz="1200" dirty="0" err="1">
                <a:latin typeface="Consolas"/>
                <a:cs typeface="Calibri"/>
              </a:rPr>
              <a:t>obj.sum</a:t>
            </a:r>
            <a:r>
              <a:rPr lang="en-US" sz="1200" dirty="0">
                <a:latin typeface="Consolas"/>
                <a:cs typeface="Calibri"/>
              </a:rPr>
              <a:t>()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By using </a:t>
            </a:r>
            <a:r>
              <a:rPr lang="en-US" sz="1200" i="1" dirty="0" err="1">
                <a:latin typeface="Consolas"/>
                <a:cs typeface="Calibri"/>
              </a:rPr>
              <a:t>Object.create</a:t>
            </a:r>
            <a:r>
              <a:rPr lang="en-US" sz="1200" dirty="0">
                <a:latin typeface="Consolas"/>
                <a:cs typeface="Calibri"/>
              </a:rPr>
              <a:t> we can extend</a:t>
            </a:r>
          </a:p>
          <a:p>
            <a:r>
              <a:rPr lang="en-US" sz="1200" dirty="0">
                <a:latin typeface="Consolas"/>
                <a:cs typeface="Calibri"/>
              </a:rPr>
              <a:t>// the base </a:t>
            </a:r>
            <a:r>
              <a:rPr lang="en-US" sz="1200" i="1" dirty="0">
                <a:latin typeface="Consolas"/>
                <a:cs typeface="Calibri"/>
              </a:rPr>
              <a:t>object</a:t>
            </a:r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const </a:t>
            </a:r>
            <a:r>
              <a:rPr lang="en-US" sz="1200" dirty="0" err="1">
                <a:latin typeface="Consolas"/>
                <a:cs typeface="Calibri"/>
              </a:rPr>
              <a:t>secondObj</a:t>
            </a:r>
            <a:r>
              <a:rPr lang="en-US" sz="1200" dirty="0">
                <a:latin typeface="Consolas"/>
                <a:cs typeface="Calibri"/>
              </a:rPr>
              <a:t> = </a:t>
            </a:r>
            <a:r>
              <a:rPr lang="en-US" sz="1200" dirty="0" err="1">
                <a:latin typeface="Consolas"/>
                <a:cs typeface="Calibri"/>
              </a:rPr>
              <a:t>Object.create</a:t>
            </a:r>
            <a:r>
              <a:rPr lang="en-US" sz="1200" dirty="0">
                <a:latin typeface="Consolas"/>
                <a:cs typeface="Calibri"/>
              </a:rPr>
              <a:t>(obj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We can also </a:t>
            </a:r>
            <a:r>
              <a:rPr lang="en-US" sz="1200" i="1" dirty="0">
                <a:latin typeface="Consolas"/>
                <a:cs typeface="Calibri"/>
              </a:rPr>
              <a:t>override</a:t>
            </a:r>
            <a:r>
              <a:rPr lang="en-US" sz="1200" dirty="0">
                <a:latin typeface="Consolas"/>
                <a:cs typeface="Calibri"/>
              </a:rPr>
              <a:t> properties or </a:t>
            </a:r>
          </a:p>
          <a:p>
            <a:r>
              <a:rPr lang="en-US" sz="1200" dirty="0">
                <a:latin typeface="Consolas"/>
                <a:cs typeface="Calibri"/>
              </a:rPr>
              <a:t>// methods by creating local properties</a:t>
            </a:r>
          </a:p>
          <a:p>
            <a:r>
              <a:rPr lang="en-US" sz="1200" dirty="0" err="1">
                <a:latin typeface="Consolas"/>
                <a:cs typeface="Calibri"/>
              </a:rPr>
              <a:t>secondObj.a</a:t>
            </a:r>
            <a:r>
              <a:rPr lang="en-US" sz="1200" dirty="0">
                <a:latin typeface="Consolas"/>
                <a:cs typeface="Calibri"/>
              </a:rPr>
              <a:t> = 4;</a:t>
            </a:r>
          </a:p>
          <a:p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</a:t>
            </a:r>
            <a:r>
              <a:rPr lang="en-US" sz="1200" dirty="0" err="1">
                <a:latin typeface="Consolas"/>
                <a:cs typeface="Calibri"/>
              </a:rPr>
              <a:t>secondObj.sum</a:t>
            </a:r>
            <a:r>
              <a:rPr lang="en-US" sz="1200" dirty="0">
                <a:latin typeface="Consolas"/>
                <a:cs typeface="Calibri"/>
              </a:rPr>
              <a:t>()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delete </a:t>
            </a:r>
            <a:r>
              <a:rPr lang="en-US" sz="1200" dirty="0" err="1">
                <a:latin typeface="Consolas"/>
                <a:cs typeface="Calibri"/>
              </a:rPr>
              <a:t>secondObj.a</a:t>
            </a:r>
            <a:r>
              <a:rPr lang="en-US" sz="1200" dirty="0">
                <a:latin typeface="Consolas"/>
                <a:cs typeface="Calibri"/>
              </a:rPr>
              <a:t>;</a:t>
            </a:r>
          </a:p>
          <a:p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</a:t>
            </a:r>
            <a:r>
              <a:rPr lang="en-US" sz="1200" dirty="0" err="1">
                <a:latin typeface="Consolas"/>
                <a:cs typeface="Calibri"/>
              </a:rPr>
              <a:t>secondObj.sum</a:t>
            </a:r>
            <a:r>
              <a:rPr lang="en-US" sz="1200" dirty="0">
                <a:latin typeface="Consolas"/>
                <a:cs typeface="Calibri"/>
              </a:rPr>
              <a:t>());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A4B61F12-E353-9641-BEFD-4971D1B3BE9D}"/>
              </a:ext>
            </a:extLst>
          </p:cNvPr>
          <p:cNvSpPr/>
          <p:nvPr/>
        </p:nvSpPr>
        <p:spPr>
          <a:xfrm>
            <a:off x="248877" y="1730966"/>
            <a:ext cx="4007438" cy="431060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</a:rPr>
              <a:t>// Create an object prototype and an instance</a:t>
            </a:r>
          </a:p>
          <a:p>
            <a:r>
              <a:rPr lang="en-US" sz="1200" dirty="0">
                <a:latin typeface="Consolas"/>
              </a:rPr>
              <a:t>const </a:t>
            </a:r>
            <a:r>
              <a:rPr lang="en-US" sz="1200" dirty="0" err="1">
                <a:latin typeface="Consolas"/>
              </a:rPr>
              <a:t>SampleObject</a:t>
            </a:r>
            <a:r>
              <a:rPr lang="en-US" sz="1200" dirty="0">
                <a:latin typeface="Consolas"/>
              </a:rPr>
              <a:t> = function() {</a:t>
            </a:r>
          </a:p>
          <a:p>
            <a:r>
              <a:rPr lang="en-US" sz="1200" dirty="0">
                <a:latin typeface="Consolas"/>
              </a:rPr>
              <a:t>  </a:t>
            </a:r>
            <a:r>
              <a:rPr lang="en-US" sz="1200" dirty="0" err="1">
                <a:latin typeface="Consolas"/>
              </a:rPr>
              <a:t>this.a</a:t>
            </a:r>
            <a:r>
              <a:rPr lang="en-US" sz="1200" dirty="0">
                <a:latin typeface="Consolas"/>
              </a:rPr>
              <a:t> = 100;</a:t>
            </a:r>
          </a:p>
          <a:p>
            <a:r>
              <a:rPr lang="en-US" sz="1200" dirty="0">
                <a:latin typeface="Consolas"/>
              </a:rPr>
              <a:t>  </a:t>
            </a:r>
            <a:r>
              <a:rPr lang="en-US" sz="1200" dirty="0" err="1">
                <a:latin typeface="Consolas"/>
              </a:rPr>
              <a:t>this.b</a:t>
            </a:r>
            <a:r>
              <a:rPr lang="en-US" sz="1200" dirty="0">
                <a:latin typeface="Consolas"/>
              </a:rPr>
              <a:t> = 50;</a:t>
            </a:r>
          </a:p>
          <a:p>
            <a:r>
              <a:rPr lang="en-US" sz="1200" dirty="0">
                <a:latin typeface="Consolas"/>
              </a:rPr>
              <a:t>};</a:t>
            </a:r>
          </a:p>
          <a:p>
            <a:r>
              <a:rPr lang="en-US" sz="1200" dirty="0">
                <a:latin typeface="Consolas"/>
                <a:cs typeface="Calibri"/>
              </a:rPr>
              <a:t>const instance = new </a:t>
            </a:r>
            <a:r>
              <a:rPr lang="en-US" sz="1200" dirty="0" err="1">
                <a:latin typeface="Consolas"/>
                <a:cs typeface="Calibri"/>
              </a:rPr>
              <a:t>SampleObject</a:t>
            </a:r>
            <a:r>
              <a:rPr lang="en-US" sz="1200" dirty="0">
                <a:latin typeface="Consolas"/>
                <a:cs typeface="Calibri"/>
              </a:rPr>
              <a:t>();</a:t>
            </a:r>
          </a:p>
          <a:p>
            <a:r>
              <a:rPr lang="en-US" sz="1200" dirty="0">
                <a:latin typeface="Consolas"/>
                <a:cs typeface="Calibri"/>
              </a:rPr>
              <a:t>// Properties can be added dynamically</a:t>
            </a:r>
          </a:p>
          <a:p>
            <a:r>
              <a:rPr lang="en-US" sz="1200" dirty="0" err="1">
                <a:latin typeface="Consolas"/>
                <a:cs typeface="Calibri"/>
              </a:rPr>
              <a:t>SampleObject.prototype.c</a:t>
            </a:r>
            <a:r>
              <a:rPr lang="en-US" sz="1200" dirty="0">
                <a:latin typeface="Consolas"/>
                <a:cs typeface="Calibri"/>
              </a:rPr>
              <a:t> = 75;</a:t>
            </a:r>
          </a:p>
          <a:p>
            <a:r>
              <a:rPr lang="en-US" sz="1200" dirty="0" err="1">
                <a:latin typeface="Consolas"/>
                <a:cs typeface="Calibri"/>
              </a:rPr>
              <a:t>SampleObject.prototype.d</a:t>
            </a:r>
            <a:r>
              <a:rPr lang="en-US" sz="1200" dirty="0">
                <a:latin typeface="Consolas"/>
                <a:cs typeface="Calibri"/>
              </a:rPr>
              <a:t> = 25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Objects are sort of dynamic </a:t>
            </a:r>
            <a:r>
              <a:rPr lang="en-US" sz="1200" i="1" dirty="0">
                <a:latin typeface="Consolas"/>
                <a:cs typeface="Calibri"/>
              </a:rPr>
              <a:t>property bags</a:t>
            </a:r>
          </a:p>
          <a:p>
            <a:r>
              <a:rPr lang="en-US" sz="1200" dirty="0">
                <a:latin typeface="Consolas"/>
                <a:cs typeface="Calibri"/>
              </a:rPr>
              <a:t>// When a property is accessed, it’s searched </a:t>
            </a:r>
          </a:p>
          <a:p>
            <a:r>
              <a:rPr lang="en-US" sz="1200" dirty="0">
                <a:latin typeface="Consolas"/>
                <a:cs typeface="Calibri"/>
              </a:rPr>
              <a:t>// in the object and it’s parents until </a:t>
            </a:r>
          </a:p>
          <a:p>
            <a:r>
              <a:rPr lang="en-US" sz="1200" dirty="0">
                <a:latin typeface="Consolas"/>
                <a:cs typeface="Calibri"/>
              </a:rPr>
              <a:t>// it’s found or no </a:t>
            </a:r>
            <a:r>
              <a:rPr lang="en-US" sz="1200" i="1" dirty="0">
                <a:latin typeface="Consolas"/>
                <a:cs typeface="Calibri"/>
              </a:rPr>
              <a:t>prototypes</a:t>
            </a:r>
            <a:r>
              <a:rPr lang="en-US" sz="1200" dirty="0">
                <a:latin typeface="Consolas"/>
                <a:cs typeface="Calibri"/>
              </a:rPr>
              <a:t> remain in</a:t>
            </a:r>
          </a:p>
          <a:p>
            <a:r>
              <a:rPr lang="en-US" sz="1200" dirty="0">
                <a:latin typeface="Consolas"/>
                <a:cs typeface="Calibri"/>
              </a:rPr>
              <a:t>// the chain</a:t>
            </a:r>
          </a:p>
          <a:p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instance);</a:t>
            </a:r>
          </a:p>
          <a:p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</a:t>
            </a:r>
            <a:r>
              <a:rPr lang="en-US" sz="1200" dirty="0" err="1">
                <a:latin typeface="Consolas"/>
                <a:cs typeface="Calibri"/>
              </a:rPr>
              <a:t>instance.c</a:t>
            </a:r>
            <a:r>
              <a:rPr lang="en-US" sz="1200" dirty="0">
                <a:latin typeface="Consolas"/>
                <a:cs typeface="Calibri"/>
              </a:rPr>
              <a:t>);</a:t>
            </a:r>
          </a:p>
          <a:p>
            <a:r>
              <a:rPr lang="en-US" sz="1200" dirty="0">
                <a:latin typeface="Consolas"/>
                <a:cs typeface="Calibri"/>
              </a:rPr>
              <a:t>// We can use </a:t>
            </a:r>
            <a:r>
              <a:rPr lang="en-US" sz="1200" i="1" dirty="0" err="1">
                <a:latin typeface="Consolas"/>
                <a:cs typeface="Calibri"/>
              </a:rPr>
              <a:t>hasOwnProperty</a:t>
            </a:r>
            <a:r>
              <a:rPr lang="en-US" sz="1200" dirty="0">
                <a:latin typeface="Consolas"/>
                <a:cs typeface="Calibri"/>
              </a:rPr>
              <a:t> to detect </a:t>
            </a:r>
          </a:p>
          <a:p>
            <a:r>
              <a:rPr lang="en-US" sz="1200" dirty="0">
                <a:latin typeface="Consolas"/>
                <a:cs typeface="Calibri"/>
              </a:rPr>
              <a:t>// </a:t>
            </a:r>
            <a:r>
              <a:rPr lang="en-US" sz="1200" i="1" dirty="0">
                <a:latin typeface="Consolas"/>
                <a:cs typeface="Calibri"/>
              </a:rPr>
              <a:t>prototype</a:t>
            </a:r>
            <a:r>
              <a:rPr lang="en-US" sz="1200" dirty="0">
                <a:latin typeface="Consolas"/>
                <a:cs typeface="Calibri"/>
              </a:rPr>
              <a:t> inherited properties</a:t>
            </a:r>
          </a:p>
          <a:p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</a:t>
            </a:r>
            <a:r>
              <a:rPr lang="en-US" sz="1200" dirty="0" err="1">
                <a:latin typeface="Consolas"/>
                <a:cs typeface="Calibri"/>
              </a:rPr>
              <a:t>instance.hasOwnProperty</a:t>
            </a:r>
            <a:r>
              <a:rPr lang="en-US" sz="1200" dirty="0">
                <a:latin typeface="Consolas"/>
                <a:cs typeface="Calibri"/>
              </a:rPr>
              <a:t>(’a’));</a:t>
            </a:r>
          </a:p>
          <a:p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</a:t>
            </a:r>
            <a:r>
              <a:rPr lang="en-US" sz="1200" dirty="0" err="1">
                <a:latin typeface="Consolas"/>
                <a:cs typeface="Calibri"/>
              </a:rPr>
              <a:t>instance.hasOwnProperty</a:t>
            </a:r>
            <a:r>
              <a:rPr lang="en-US" sz="1200" dirty="0">
                <a:latin typeface="Consolas"/>
                <a:cs typeface="Calibri"/>
              </a:rPr>
              <a:t>(’c’));</a:t>
            </a:r>
          </a:p>
          <a:p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</a:t>
            </a:r>
            <a:r>
              <a:rPr lang="en-US" sz="1200" dirty="0" err="1">
                <a:latin typeface="Consolas"/>
                <a:cs typeface="Calibri"/>
              </a:rPr>
              <a:t>instance.hasOwnProperty</a:t>
            </a:r>
            <a:r>
              <a:rPr lang="en-US" sz="1200" dirty="0">
                <a:latin typeface="Consolas"/>
                <a:cs typeface="Calibri"/>
              </a:rPr>
              <a:t>(’d’));</a:t>
            </a:r>
          </a:p>
        </p:txBody>
      </p:sp>
    </p:spTree>
    <p:extLst>
      <p:ext uri="{BB962C8B-B14F-4D97-AF65-F5344CB8AC3E}">
        <p14:creationId xmlns:p14="http://schemas.microsoft.com/office/powerpoint/2010/main" val="3468197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>
                <a:solidFill>
                  <a:schemeClr val="bg1"/>
                </a:solidFill>
                <a:latin typeface="Century Gothic"/>
              </a:rPr>
              <a:t>Introduction</a:t>
            </a:r>
            <a:endParaRPr lang="es-ES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2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b="1" dirty="0">
                <a:latin typeface="Century Gothic"/>
              </a:rPr>
              <a:t>Features: Scoping</a:t>
            </a:r>
          </a:p>
          <a:p>
            <a:pPr>
              <a:spcBef>
                <a:spcPct val="20000"/>
              </a:spcBef>
            </a:pPr>
            <a:r>
              <a:rPr lang="en-US" sz="1600" dirty="0">
                <a:latin typeface="Century Gothic"/>
              </a:rPr>
              <a:t>As in many other languages, the </a:t>
            </a:r>
            <a:r>
              <a:rPr lang="en-US" sz="1600" b="1" i="1" dirty="0">
                <a:latin typeface="Century Gothic"/>
              </a:rPr>
              <a:t>scope</a:t>
            </a:r>
            <a:r>
              <a:rPr lang="en-US" sz="1600" b="1" dirty="0">
                <a:latin typeface="Century Gothic"/>
              </a:rPr>
              <a:t> determines the </a:t>
            </a:r>
            <a:r>
              <a:rPr lang="en-US" sz="1600" b="1" i="1" dirty="0">
                <a:latin typeface="Century Gothic"/>
              </a:rPr>
              <a:t>visibility</a:t>
            </a:r>
            <a:r>
              <a:rPr lang="en-US" sz="1600" b="1" dirty="0">
                <a:latin typeface="Century Gothic"/>
              </a:rPr>
              <a:t> </a:t>
            </a:r>
            <a:r>
              <a:rPr lang="en-US" sz="1600" dirty="0">
                <a:latin typeface="Century Gothic"/>
              </a:rPr>
              <a:t>of a variable. There is two scopes:</a:t>
            </a: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latin typeface="Century Gothic"/>
              </a:rPr>
              <a:t>Local scope</a:t>
            </a:r>
            <a:r>
              <a:rPr lang="en-US" sz="1600" dirty="0">
                <a:latin typeface="Century Gothic"/>
              </a:rPr>
              <a:t>: scope bound to a function. Its values are cleared once the function has completed.</a:t>
            </a:r>
            <a:br>
              <a:rPr lang="en-US" sz="1600" dirty="0">
                <a:latin typeface="Century Gothic"/>
              </a:rPr>
            </a:br>
            <a:r>
              <a:rPr lang="en-US" sz="1600" dirty="0">
                <a:latin typeface="Century Gothic"/>
              </a:rPr>
              <a:t>Function arguments also work as local variables within a function.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latin typeface="Century Gothic"/>
              </a:rPr>
              <a:t>Global scope</a:t>
            </a:r>
            <a:r>
              <a:rPr lang="en-US" sz="1600" dirty="0">
                <a:latin typeface="Century Gothic"/>
              </a:rPr>
              <a:t>: application scope. Its values are kept as long as the application is running.</a:t>
            </a:r>
            <a:br>
              <a:rPr lang="en-US" sz="1600" dirty="0">
                <a:latin typeface="Century Gothic"/>
              </a:rPr>
            </a:br>
            <a:r>
              <a:rPr lang="en-US" sz="1600" dirty="0">
                <a:latin typeface="Century Gothic"/>
              </a:rPr>
              <a:t>This kind of variables should be avoided to keep our code performant and memory efficient.</a:t>
            </a:r>
            <a:br>
              <a:rPr lang="en-US" sz="1600" dirty="0">
                <a:latin typeface="Century Gothic"/>
              </a:rPr>
            </a:br>
            <a:r>
              <a:rPr lang="en-US" sz="1600" dirty="0">
                <a:latin typeface="Century Gothic"/>
              </a:rPr>
              <a:t>Using </a:t>
            </a:r>
            <a:r>
              <a:rPr lang="en-US" sz="1600" b="1" i="1" dirty="0">
                <a:latin typeface="Century Gothic"/>
              </a:rPr>
              <a:t>strict mode</a:t>
            </a:r>
            <a:r>
              <a:rPr lang="en-US" sz="1600" b="1" dirty="0">
                <a:latin typeface="Century Gothic"/>
              </a:rPr>
              <a:t> </a:t>
            </a:r>
            <a:r>
              <a:rPr lang="en-US" sz="1600" dirty="0">
                <a:latin typeface="Century Gothic"/>
              </a:rPr>
              <a:t>is important in order to avoid </a:t>
            </a:r>
            <a:r>
              <a:rPr lang="en-US" sz="1600" i="1" dirty="0">
                <a:latin typeface="Century Gothic"/>
              </a:rPr>
              <a:t>polluting the global scope</a:t>
            </a:r>
            <a:r>
              <a:rPr lang="en-US" sz="1600" dirty="0">
                <a:latin typeface="Century Gothic"/>
              </a:rPr>
              <a:t> as it disallows the usage of undeclared variables that end up in the </a:t>
            </a:r>
            <a:r>
              <a:rPr lang="en-US" sz="1600" i="1" dirty="0">
                <a:latin typeface="Century Gothic"/>
              </a:rPr>
              <a:t>global scope</a:t>
            </a:r>
            <a:r>
              <a:rPr lang="en-US" sz="1600" dirty="0">
                <a:latin typeface="Century Gothic"/>
              </a:rPr>
              <a:t>.</a:t>
            </a:r>
          </a:p>
          <a:p>
            <a:pPr>
              <a:spcBef>
                <a:spcPct val="20000"/>
              </a:spcBef>
            </a:pPr>
            <a:endParaRPr lang="en-US" sz="1600" b="1" i="1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1600" dirty="0">
                <a:latin typeface="Century Gothic"/>
              </a:rPr>
              <a:t>It is also important to keep the following details about the </a:t>
            </a:r>
            <a:r>
              <a:rPr lang="en-US" sz="1600" i="1" dirty="0">
                <a:latin typeface="Century Gothic"/>
              </a:rPr>
              <a:t>scope</a:t>
            </a:r>
            <a:r>
              <a:rPr lang="en-US" sz="1600" dirty="0">
                <a:latin typeface="Century Gothic"/>
              </a:rPr>
              <a:t> in mind while developing with </a:t>
            </a:r>
            <a:r>
              <a:rPr lang="en-US" sz="1600" i="1" dirty="0">
                <a:latin typeface="Century Gothic"/>
              </a:rPr>
              <a:t>JavaScript</a:t>
            </a:r>
            <a:r>
              <a:rPr lang="en-US" sz="1600" dirty="0">
                <a:latin typeface="Century Gothic"/>
              </a:rPr>
              <a:t>:</a:t>
            </a:r>
          </a:p>
          <a:p>
            <a:pPr marL="342900" indent="-342900">
              <a:spcBef>
                <a:spcPct val="20000"/>
              </a:spcBef>
              <a:buFont typeface="+mj-lt"/>
              <a:buAutoNum type="arabicPeriod"/>
            </a:pPr>
            <a:r>
              <a:rPr lang="en-US" sz="1600" dirty="0">
                <a:latin typeface="Century Gothic"/>
              </a:rPr>
              <a:t>Variables are </a:t>
            </a:r>
            <a:r>
              <a:rPr lang="en-US" sz="1600" b="1" i="1" dirty="0">
                <a:latin typeface="Century Gothic"/>
              </a:rPr>
              <a:t>lexically scoped</a:t>
            </a:r>
            <a:r>
              <a:rPr lang="en-US" sz="1600" dirty="0">
                <a:latin typeface="Century Gothic"/>
              </a:rPr>
              <a:t>. The static structure of the program determines the </a:t>
            </a:r>
            <a:r>
              <a:rPr lang="en-US" sz="1600" i="1" dirty="0">
                <a:latin typeface="Century Gothic"/>
              </a:rPr>
              <a:t>scope </a:t>
            </a:r>
            <a:r>
              <a:rPr lang="en-US" sz="1600" dirty="0">
                <a:latin typeface="Century Gothic"/>
              </a:rPr>
              <a:t>of a variable.</a:t>
            </a:r>
          </a:p>
          <a:p>
            <a:pPr marL="342900" indent="-342900">
              <a:spcBef>
                <a:spcPct val="20000"/>
              </a:spcBef>
              <a:buFont typeface="+mj-lt"/>
              <a:buAutoNum type="arabicPeriod"/>
            </a:pPr>
            <a:r>
              <a:rPr lang="en-US" sz="1600" i="1" dirty="0">
                <a:latin typeface="Century Gothic"/>
              </a:rPr>
              <a:t>Scopes</a:t>
            </a:r>
            <a:r>
              <a:rPr lang="en-US" sz="1600" dirty="0">
                <a:latin typeface="Century Gothic"/>
              </a:rPr>
              <a:t> can be </a:t>
            </a:r>
            <a:r>
              <a:rPr lang="en-US" sz="1600" b="1" dirty="0">
                <a:latin typeface="Century Gothic"/>
              </a:rPr>
              <a:t>nested</a:t>
            </a:r>
            <a:r>
              <a:rPr lang="en-US" sz="1600" dirty="0">
                <a:latin typeface="Century Gothic"/>
              </a:rPr>
              <a:t>, meaning that a </a:t>
            </a:r>
            <a:r>
              <a:rPr lang="en-US" sz="1600" i="1" dirty="0">
                <a:latin typeface="Century Gothic"/>
              </a:rPr>
              <a:t>function z </a:t>
            </a:r>
            <a:r>
              <a:rPr lang="en-US" sz="1600" dirty="0">
                <a:latin typeface="Century Gothic"/>
              </a:rPr>
              <a:t>nested on a </a:t>
            </a:r>
            <a:r>
              <a:rPr lang="en-US" sz="1600" i="1" dirty="0">
                <a:latin typeface="Century Gothic"/>
              </a:rPr>
              <a:t>function</a:t>
            </a:r>
            <a:r>
              <a:rPr lang="en-US" sz="1600" dirty="0">
                <a:latin typeface="Century Gothic"/>
              </a:rPr>
              <a:t> </a:t>
            </a:r>
            <a:r>
              <a:rPr lang="en-US" sz="1600" i="1" dirty="0">
                <a:latin typeface="Century Gothic"/>
              </a:rPr>
              <a:t>x</a:t>
            </a:r>
            <a:r>
              <a:rPr lang="en-US" sz="1600" dirty="0">
                <a:latin typeface="Century Gothic"/>
              </a:rPr>
              <a:t> can access </a:t>
            </a:r>
            <a:r>
              <a:rPr lang="en-US" sz="1600" i="1" dirty="0">
                <a:latin typeface="Century Gothic"/>
              </a:rPr>
              <a:t>function x</a:t>
            </a:r>
            <a:r>
              <a:rPr lang="en-US" sz="1600" dirty="0">
                <a:latin typeface="Century Gothic"/>
              </a:rPr>
              <a:t>’s </a:t>
            </a:r>
            <a:r>
              <a:rPr lang="en-US" sz="1600" i="1" dirty="0">
                <a:latin typeface="Century Gothic"/>
              </a:rPr>
              <a:t>scope</a:t>
            </a:r>
            <a:r>
              <a:rPr lang="en-US" sz="1600" dirty="0">
                <a:latin typeface="Century Gothic"/>
              </a:rPr>
              <a:t>.</a:t>
            </a:r>
          </a:p>
          <a:p>
            <a:pPr marL="342900" indent="-342900">
              <a:spcBef>
                <a:spcPct val="20000"/>
              </a:spcBef>
              <a:buFont typeface="+mj-lt"/>
              <a:buAutoNum type="arabicPeriod"/>
            </a:pPr>
            <a:r>
              <a:rPr lang="en-US" sz="1600" dirty="0">
                <a:latin typeface="Century Gothic"/>
              </a:rPr>
              <a:t>If a </a:t>
            </a:r>
            <a:r>
              <a:rPr lang="en-US" sz="1600" i="1" dirty="0">
                <a:latin typeface="Century Gothic"/>
              </a:rPr>
              <a:t>scope</a:t>
            </a:r>
            <a:r>
              <a:rPr lang="en-US" sz="1600" dirty="0">
                <a:latin typeface="Century Gothic"/>
              </a:rPr>
              <a:t> declares a variable with the same name as another one in a surrounding scope, the later is </a:t>
            </a:r>
            <a:r>
              <a:rPr lang="en-US" sz="1600" b="1" i="1" dirty="0">
                <a:latin typeface="Century Gothic"/>
              </a:rPr>
              <a:t>shadowed</a:t>
            </a:r>
            <a:r>
              <a:rPr lang="en-US" sz="1600" dirty="0">
                <a:latin typeface="Century Gothic"/>
              </a:rPr>
              <a:t>, meaning access to the outer variable is blocked within the </a:t>
            </a:r>
            <a:r>
              <a:rPr lang="en-US" sz="1600" i="1" dirty="0">
                <a:latin typeface="Century Gothic"/>
              </a:rPr>
              <a:t>scope</a:t>
            </a:r>
            <a:r>
              <a:rPr lang="en-US" sz="1600" dirty="0">
                <a:latin typeface="Century Gothic"/>
              </a:rPr>
              <a:t> and its </a:t>
            </a:r>
            <a:r>
              <a:rPr lang="en-US" sz="1600" i="1" dirty="0">
                <a:latin typeface="Century Gothic"/>
              </a:rPr>
              <a:t>nested scopes</a:t>
            </a:r>
            <a:r>
              <a:rPr lang="en-US" sz="1600" dirty="0">
                <a:latin typeface="Century Gothic"/>
              </a:rPr>
              <a:t>.</a:t>
            </a:r>
          </a:p>
          <a:p>
            <a:pPr marL="342900" indent="-342900">
              <a:spcBef>
                <a:spcPct val="20000"/>
              </a:spcBef>
              <a:buFont typeface="+mj-lt"/>
              <a:buAutoNum type="arabicPeriod"/>
            </a:pPr>
            <a:r>
              <a:rPr lang="en-US" sz="1600" dirty="0">
                <a:latin typeface="Century Gothic"/>
              </a:rPr>
              <a:t>Variable declarations are </a:t>
            </a:r>
            <a:r>
              <a:rPr lang="en-US" sz="1600" b="1" i="1" dirty="0">
                <a:latin typeface="Century Gothic"/>
              </a:rPr>
              <a:t>hoisted</a:t>
            </a:r>
            <a:r>
              <a:rPr lang="en-US" sz="1600" dirty="0">
                <a:latin typeface="Century Gothic"/>
              </a:rPr>
              <a:t>, they’re pushed to the beginning of their </a:t>
            </a:r>
            <a:r>
              <a:rPr lang="en-US" sz="1600" i="1" dirty="0">
                <a:latin typeface="Century Gothic"/>
              </a:rPr>
              <a:t>scope </a:t>
            </a:r>
            <a:r>
              <a:rPr lang="en-US" sz="1600" dirty="0">
                <a:latin typeface="Century Gothic"/>
              </a:rPr>
              <a:t>while assignments or other operations are not.</a:t>
            </a:r>
          </a:p>
          <a:p>
            <a:pPr marL="342900" indent="-342900">
              <a:spcBef>
                <a:spcPct val="20000"/>
              </a:spcBef>
              <a:buFont typeface="+mj-lt"/>
              <a:buAutoNum type="arabicPeriod"/>
            </a:pPr>
            <a:r>
              <a:rPr lang="en-US" sz="1600" b="1" i="1" dirty="0">
                <a:latin typeface="Century Gothic"/>
              </a:rPr>
              <a:t>IIFEs</a:t>
            </a:r>
            <a:r>
              <a:rPr lang="en-US" sz="1600" b="1" dirty="0">
                <a:latin typeface="Century Gothic"/>
              </a:rPr>
              <a:t> can be used to create short-lived/secret </a:t>
            </a:r>
            <a:r>
              <a:rPr lang="en-US" sz="1600" b="1" i="1" dirty="0">
                <a:latin typeface="Century Gothic"/>
              </a:rPr>
              <a:t>scopes</a:t>
            </a:r>
            <a:r>
              <a:rPr lang="en-US" sz="1600" dirty="0">
                <a:latin typeface="Century Gothic"/>
              </a:rPr>
              <a:t>. These can be used to limit variable visibility within a </a:t>
            </a:r>
            <a:r>
              <a:rPr lang="en-US" sz="1600" i="1" dirty="0">
                <a:latin typeface="Century Gothic"/>
              </a:rPr>
              <a:t>scope</a:t>
            </a:r>
            <a:r>
              <a:rPr lang="en-US" sz="1600" dirty="0">
                <a:latin typeface="Century Gothic"/>
              </a:rPr>
              <a:t>.</a:t>
            </a:r>
          </a:p>
          <a:p>
            <a:pPr marL="342900" indent="-342900">
              <a:spcBef>
                <a:spcPct val="20000"/>
              </a:spcBef>
              <a:buFont typeface="+mj-lt"/>
              <a:buAutoNum type="arabicPeriod"/>
            </a:pPr>
            <a:r>
              <a:rPr lang="en-US" sz="1600" dirty="0">
                <a:latin typeface="Century Gothic"/>
              </a:rPr>
              <a:t>It’s recommended to </a:t>
            </a:r>
            <a:r>
              <a:rPr lang="en-US" sz="1600" b="1" dirty="0">
                <a:latin typeface="Century Gothic"/>
              </a:rPr>
              <a:t>use the keywords </a:t>
            </a:r>
            <a:r>
              <a:rPr lang="en-US" sz="1600" b="1" i="1" dirty="0">
                <a:latin typeface="Century Gothic"/>
              </a:rPr>
              <a:t>let</a:t>
            </a:r>
            <a:r>
              <a:rPr lang="en-US" sz="1600" b="1" dirty="0">
                <a:latin typeface="Century Gothic"/>
              </a:rPr>
              <a:t> and </a:t>
            </a:r>
            <a:r>
              <a:rPr lang="en-US" sz="1600" b="1" i="1" dirty="0">
                <a:latin typeface="Century Gothic"/>
              </a:rPr>
              <a:t>const</a:t>
            </a:r>
            <a:r>
              <a:rPr lang="en-US" sz="1600" b="1" dirty="0">
                <a:latin typeface="Century Gothic"/>
              </a:rPr>
              <a:t> over </a:t>
            </a:r>
            <a:r>
              <a:rPr lang="en-US" sz="1600" b="1" i="1" dirty="0">
                <a:latin typeface="Century Gothic"/>
              </a:rPr>
              <a:t>var</a:t>
            </a:r>
            <a:r>
              <a:rPr lang="en-US" sz="1600" b="1" dirty="0">
                <a:latin typeface="Century Gothic"/>
              </a:rPr>
              <a:t> </a:t>
            </a:r>
            <a:r>
              <a:rPr lang="en-US" sz="1600" dirty="0">
                <a:latin typeface="Century Gothic"/>
              </a:rPr>
              <a:t>as they provide better scoping and avoid hoisting.</a:t>
            </a:r>
          </a:p>
        </p:txBody>
      </p:sp>
      <p:pic>
        <p:nvPicPr>
          <p:cNvPr id="41537" name="Picture 577">
            <a:extLst>
              <a:ext uri="{FF2B5EF4-FFF2-40B4-BE49-F238E27FC236}">
                <a16:creationId xmlns:a16="http://schemas.microsoft.com/office/drawing/2014/main" id="{468E00A5-3FA0-A848-B9BF-6487463C30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0" y="1096874"/>
            <a:ext cx="1268184" cy="1268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23">
            <a:extLst>
              <a:ext uri="{FF2B5EF4-FFF2-40B4-BE49-F238E27FC236}">
                <a16:creationId xmlns:a16="http://schemas.microsoft.com/office/drawing/2014/main" id="{D17781F2-1020-4343-B88F-03234841DEB0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JavaScript</a:t>
            </a:r>
            <a:endParaRPr lang="es-ES" i="1" dirty="0"/>
          </a:p>
        </p:txBody>
      </p:sp>
    </p:spTree>
    <p:extLst>
      <p:ext uri="{BB962C8B-B14F-4D97-AF65-F5344CB8AC3E}">
        <p14:creationId xmlns:p14="http://schemas.microsoft.com/office/powerpoint/2010/main" val="2271420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2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b="1" dirty="0">
                <a:latin typeface="Century Gothic"/>
              </a:rPr>
              <a:t>Features: Scoping</a:t>
            </a: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b="1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b="1" dirty="0">
              <a:latin typeface="Century Gothic"/>
            </a:endParaRP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A4FBB38A-5673-B343-8A22-C5F9D3568034}"/>
              </a:ext>
            </a:extLst>
          </p:cNvPr>
          <p:cNvSpPr/>
          <p:nvPr/>
        </p:nvSpPr>
        <p:spPr>
          <a:xfrm>
            <a:off x="8108355" y="1730965"/>
            <a:ext cx="3735301" cy="431060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  <a:cs typeface="Calibri"/>
              </a:rPr>
              <a:t>// </a:t>
            </a:r>
            <a:r>
              <a:rPr lang="en-US" sz="1200" i="1" dirty="0">
                <a:latin typeface="Consolas"/>
                <a:cs typeface="Calibri"/>
              </a:rPr>
              <a:t>IIFEs*</a:t>
            </a:r>
            <a:r>
              <a:rPr lang="en-US" sz="1200" dirty="0">
                <a:latin typeface="Consolas"/>
                <a:cs typeface="Calibri"/>
              </a:rPr>
              <a:t> were used to keep </a:t>
            </a:r>
          </a:p>
          <a:p>
            <a:r>
              <a:rPr lang="en-US" sz="1200" dirty="0">
                <a:latin typeface="Consolas"/>
                <a:cs typeface="Calibri"/>
              </a:rPr>
              <a:t>// variables in certain </a:t>
            </a:r>
          </a:p>
          <a:p>
            <a:r>
              <a:rPr lang="en-US" sz="1200" dirty="0">
                <a:latin typeface="Consolas"/>
                <a:cs typeface="Calibri"/>
              </a:rPr>
              <a:t>// scopes secret or </a:t>
            </a:r>
          </a:p>
          <a:p>
            <a:r>
              <a:rPr lang="en-US" sz="1200" dirty="0">
                <a:latin typeface="Consolas"/>
                <a:cs typeface="Calibri"/>
              </a:rPr>
              <a:t>// short-lived. However, there’s </a:t>
            </a:r>
          </a:p>
          <a:p>
            <a:r>
              <a:rPr lang="en-US" sz="1200" dirty="0">
                <a:latin typeface="Consolas"/>
                <a:cs typeface="Calibri"/>
              </a:rPr>
              <a:t>// better techniques now.</a:t>
            </a:r>
          </a:p>
          <a:p>
            <a:r>
              <a:rPr lang="en-US" sz="1200" dirty="0">
                <a:latin typeface="Consolas"/>
                <a:cs typeface="Calibri"/>
              </a:rPr>
              <a:t>// Try this code replacing </a:t>
            </a:r>
            <a:r>
              <a:rPr lang="en-US" sz="1200" i="1" dirty="0">
                <a:latin typeface="Consolas"/>
                <a:cs typeface="Calibri"/>
              </a:rPr>
              <a:t>var</a:t>
            </a:r>
            <a:r>
              <a:rPr lang="en-US" sz="1200" dirty="0">
                <a:latin typeface="Consolas"/>
                <a:cs typeface="Calibri"/>
              </a:rPr>
              <a:t> with</a:t>
            </a:r>
            <a:r>
              <a:rPr lang="en-US" sz="1200" i="1" dirty="0">
                <a:latin typeface="Consolas"/>
                <a:cs typeface="Calibri"/>
              </a:rPr>
              <a:t> let</a:t>
            </a:r>
            <a:r>
              <a:rPr lang="en-US" sz="1200" dirty="0">
                <a:latin typeface="Consolas"/>
                <a:cs typeface="Calibri"/>
              </a:rPr>
              <a:t> or</a:t>
            </a:r>
          </a:p>
          <a:p>
            <a:r>
              <a:rPr lang="en-US" sz="1200" dirty="0">
                <a:latin typeface="Consolas"/>
                <a:cs typeface="Calibri"/>
              </a:rPr>
              <a:t>// </a:t>
            </a:r>
            <a:r>
              <a:rPr lang="en-US" sz="1200" i="1" dirty="0">
                <a:latin typeface="Consolas"/>
                <a:cs typeface="Calibri"/>
              </a:rPr>
              <a:t>const</a:t>
            </a:r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const sample = function(x) {</a:t>
            </a:r>
          </a:p>
          <a:p>
            <a:r>
              <a:rPr lang="en-US" sz="1200" dirty="0">
                <a:latin typeface="Consolas"/>
                <a:cs typeface="Calibri"/>
              </a:rPr>
              <a:t>  if (x &gt; 20) {</a:t>
            </a:r>
          </a:p>
          <a:p>
            <a:r>
              <a:rPr lang="en-US" sz="1200" dirty="0">
                <a:latin typeface="Consolas"/>
                <a:cs typeface="Calibri"/>
              </a:rPr>
              <a:t>    var weight = x * 10;</a:t>
            </a:r>
          </a:p>
          <a:p>
            <a:r>
              <a:rPr lang="en-US" sz="1200" dirty="0">
                <a:latin typeface="Consolas"/>
                <a:cs typeface="Calibri"/>
              </a:rPr>
              <a:t>    </a:t>
            </a:r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`Weight is ${weight}`);</a:t>
            </a:r>
          </a:p>
          <a:p>
            <a:r>
              <a:rPr lang="en-US" sz="1200" dirty="0">
                <a:latin typeface="Consolas"/>
                <a:cs typeface="Calibri"/>
              </a:rPr>
              <a:t>  }</a:t>
            </a:r>
          </a:p>
          <a:p>
            <a:r>
              <a:rPr lang="en-US" sz="1200" dirty="0">
                <a:latin typeface="Consolas"/>
                <a:cs typeface="Calibri"/>
              </a:rPr>
              <a:t>  </a:t>
            </a:r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`</a:t>
            </a:r>
            <a:r>
              <a:rPr lang="en-US" sz="1200" dirty="0" err="1">
                <a:latin typeface="Consolas"/>
                <a:cs typeface="Calibri"/>
              </a:rPr>
              <a:t>Outter</a:t>
            </a:r>
            <a:r>
              <a:rPr lang="en-US" sz="1200" dirty="0">
                <a:latin typeface="Consolas"/>
                <a:cs typeface="Calibri"/>
              </a:rPr>
              <a:t> weight ${weight}`);</a:t>
            </a:r>
          </a:p>
          <a:p>
            <a:r>
              <a:rPr lang="en-US" sz="1200" dirty="0">
                <a:latin typeface="Consolas"/>
                <a:cs typeface="Calibri"/>
              </a:rPr>
              <a:t>};</a:t>
            </a:r>
          </a:p>
          <a:p>
            <a:r>
              <a:rPr lang="en-US" sz="1200" dirty="0">
                <a:latin typeface="Consolas"/>
                <a:cs typeface="Calibri"/>
              </a:rPr>
              <a:t>sample(25)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NOTE: </a:t>
            </a:r>
            <a:r>
              <a:rPr lang="en-US" sz="1200" i="1" dirty="0">
                <a:latin typeface="Consolas"/>
                <a:cs typeface="Calibri"/>
              </a:rPr>
              <a:t>IIFE</a:t>
            </a:r>
            <a:r>
              <a:rPr lang="en-US" sz="1200" dirty="0">
                <a:latin typeface="Consolas"/>
                <a:cs typeface="Calibri"/>
              </a:rPr>
              <a:t> stands for </a:t>
            </a:r>
            <a:r>
              <a:rPr lang="en-US" sz="1200" i="1" dirty="0">
                <a:latin typeface="Consolas"/>
                <a:cs typeface="Calibri"/>
              </a:rPr>
              <a:t>immediately</a:t>
            </a:r>
          </a:p>
          <a:p>
            <a:r>
              <a:rPr lang="en-US" sz="1200" dirty="0">
                <a:latin typeface="Consolas"/>
                <a:cs typeface="Calibri"/>
              </a:rPr>
              <a:t>// </a:t>
            </a:r>
            <a:r>
              <a:rPr lang="en-US" sz="1200" i="1" dirty="0">
                <a:latin typeface="Consolas"/>
                <a:cs typeface="Calibri"/>
              </a:rPr>
              <a:t>invoked function expression</a:t>
            </a:r>
            <a:r>
              <a:rPr lang="en-US" sz="1200" dirty="0">
                <a:latin typeface="Consolas"/>
                <a:cs typeface="Calibri"/>
              </a:rPr>
              <a:t> and </a:t>
            </a:r>
          </a:p>
          <a:p>
            <a:r>
              <a:rPr lang="en-US" sz="1200" dirty="0">
                <a:latin typeface="Consolas"/>
                <a:cs typeface="Calibri"/>
              </a:rPr>
              <a:t>// is usually defined as shown below</a:t>
            </a:r>
          </a:p>
          <a:p>
            <a:r>
              <a:rPr lang="en-US" sz="1200" dirty="0">
                <a:latin typeface="Consolas"/>
                <a:cs typeface="Calibri"/>
              </a:rPr>
              <a:t>(function() {</a:t>
            </a:r>
          </a:p>
          <a:p>
            <a:r>
              <a:rPr lang="en-US" sz="1200" dirty="0">
                <a:latin typeface="Consolas"/>
                <a:cs typeface="Calibri"/>
              </a:rPr>
              <a:t>  // Your scoped code</a:t>
            </a:r>
          </a:p>
          <a:p>
            <a:r>
              <a:rPr lang="en-US" sz="1200" dirty="0">
                <a:latin typeface="Consolas"/>
                <a:cs typeface="Calibri"/>
              </a:rPr>
              <a:t>}());</a:t>
            </a:r>
          </a:p>
        </p:txBody>
      </p:sp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>
                <a:solidFill>
                  <a:schemeClr val="bg1"/>
                </a:solidFill>
                <a:latin typeface="Century Gothic"/>
              </a:rPr>
              <a:t>Introduction</a:t>
            </a:r>
            <a:endParaRPr lang="es-ES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37" name="Picture 577">
            <a:extLst>
              <a:ext uri="{FF2B5EF4-FFF2-40B4-BE49-F238E27FC236}">
                <a16:creationId xmlns:a16="http://schemas.microsoft.com/office/drawing/2014/main" id="{468E00A5-3FA0-A848-B9BF-6487463C30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0" y="1096874"/>
            <a:ext cx="1268184" cy="1268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23">
            <a:extLst>
              <a:ext uri="{FF2B5EF4-FFF2-40B4-BE49-F238E27FC236}">
                <a16:creationId xmlns:a16="http://schemas.microsoft.com/office/drawing/2014/main" id="{D17781F2-1020-4343-B88F-03234841DEB0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JavaScript</a:t>
            </a:r>
            <a:endParaRPr lang="es-ES" i="1" dirty="0"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EAD13079-1028-D148-B500-00D4BBEF75E6}"/>
              </a:ext>
            </a:extLst>
          </p:cNvPr>
          <p:cNvSpPr/>
          <p:nvPr/>
        </p:nvSpPr>
        <p:spPr>
          <a:xfrm>
            <a:off x="4428984" y="1730966"/>
            <a:ext cx="3506703" cy="431060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  <a:cs typeface="Calibri"/>
              </a:rPr>
              <a:t>// Example of </a:t>
            </a:r>
            <a:r>
              <a:rPr lang="en-US" sz="1200" i="1" dirty="0">
                <a:latin typeface="Consolas"/>
                <a:cs typeface="Calibri"/>
              </a:rPr>
              <a:t>nested scopes</a:t>
            </a:r>
            <a:r>
              <a:rPr lang="en-US" sz="1200" dirty="0">
                <a:latin typeface="Consolas"/>
                <a:cs typeface="Calibri"/>
              </a:rPr>
              <a:t>. The </a:t>
            </a:r>
            <a:r>
              <a:rPr lang="en-US" sz="1200" i="1" dirty="0">
                <a:latin typeface="Consolas"/>
                <a:cs typeface="Calibri"/>
              </a:rPr>
              <a:t>inner</a:t>
            </a:r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</a:t>
            </a:r>
            <a:r>
              <a:rPr lang="en-US" sz="1200" i="1" dirty="0">
                <a:latin typeface="Consolas"/>
                <a:cs typeface="Calibri"/>
              </a:rPr>
              <a:t>scope</a:t>
            </a:r>
            <a:r>
              <a:rPr lang="en-US" sz="1200" dirty="0">
                <a:latin typeface="Consolas"/>
                <a:cs typeface="Calibri"/>
              </a:rPr>
              <a:t> can seamlessly access values</a:t>
            </a:r>
          </a:p>
          <a:p>
            <a:r>
              <a:rPr lang="en-US" sz="1200" dirty="0">
                <a:latin typeface="Consolas"/>
                <a:cs typeface="Calibri"/>
              </a:rPr>
              <a:t>// existing on the </a:t>
            </a:r>
            <a:r>
              <a:rPr lang="en-US" sz="1200" i="1" dirty="0">
                <a:latin typeface="Consolas"/>
                <a:cs typeface="Calibri"/>
              </a:rPr>
              <a:t>outer</a:t>
            </a:r>
            <a:r>
              <a:rPr lang="en-US" sz="1200" dirty="0">
                <a:latin typeface="Consolas"/>
                <a:cs typeface="Calibri"/>
              </a:rPr>
              <a:t> scope.</a:t>
            </a:r>
          </a:p>
          <a:p>
            <a:r>
              <a:rPr lang="en-US" sz="1200" dirty="0">
                <a:latin typeface="Consolas"/>
                <a:cs typeface="Calibri"/>
              </a:rPr>
              <a:t>const sample = function(x) {</a:t>
            </a:r>
          </a:p>
          <a:p>
            <a:r>
              <a:rPr lang="en-US" sz="1200" dirty="0">
                <a:latin typeface="Consolas"/>
                <a:cs typeface="Calibri"/>
              </a:rPr>
              <a:t>  // Example of v being </a:t>
            </a:r>
            <a:r>
              <a:rPr lang="en-US" sz="1200" i="1" dirty="0">
                <a:latin typeface="Consolas"/>
                <a:cs typeface="Calibri"/>
              </a:rPr>
              <a:t>hoisted</a:t>
            </a:r>
          </a:p>
          <a:p>
            <a:r>
              <a:rPr lang="en-US" sz="1200" dirty="0">
                <a:latin typeface="Consolas"/>
                <a:cs typeface="Calibri"/>
              </a:rPr>
              <a:t>  // What happens if we use</a:t>
            </a:r>
            <a:r>
              <a:rPr lang="en-US" sz="1200" i="1" dirty="0">
                <a:latin typeface="Consolas"/>
                <a:cs typeface="Calibri"/>
              </a:rPr>
              <a:t> let/const</a:t>
            </a:r>
            <a:r>
              <a:rPr lang="en-US" sz="1200" dirty="0">
                <a:latin typeface="Consolas"/>
                <a:cs typeface="Calibri"/>
              </a:rPr>
              <a:t>?</a:t>
            </a:r>
          </a:p>
          <a:p>
            <a:r>
              <a:rPr lang="en-US" sz="1200" dirty="0">
                <a:latin typeface="Consolas"/>
                <a:cs typeface="Calibri"/>
              </a:rPr>
              <a:t>  </a:t>
            </a:r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v);</a:t>
            </a:r>
          </a:p>
          <a:p>
            <a:r>
              <a:rPr lang="en-US" sz="1200" dirty="0">
                <a:latin typeface="Consolas"/>
                <a:cs typeface="Calibri"/>
              </a:rPr>
              <a:t>  var v = 10;</a:t>
            </a:r>
          </a:p>
          <a:p>
            <a:r>
              <a:rPr lang="en-US" sz="1200" dirty="0">
                <a:latin typeface="Consolas"/>
                <a:cs typeface="Calibri"/>
              </a:rPr>
              <a:t>  </a:t>
            </a:r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v);</a:t>
            </a:r>
          </a:p>
          <a:p>
            <a:r>
              <a:rPr lang="en-US" sz="1200" dirty="0">
                <a:latin typeface="Consolas"/>
                <a:cs typeface="Calibri"/>
              </a:rPr>
              <a:t>  const inner = function() {</a:t>
            </a:r>
          </a:p>
          <a:p>
            <a:r>
              <a:rPr lang="en-US" sz="1200" dirty="0">
                <a:latin typeface="Consolas"/>
                <a:cs typeface="Calibri"/>
              </a:rPr>
              <a:t>    </a:t>
            </a:r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x);</a:t>
            </a:r>
          </a:p>
          <a:p>
            <a:r>
              <a:rPr lang="en-US" sz="1200" dirty="0">
                <a:latin typeface="Consolas"/>
                <a:cs typeface="Calibri"/>
              </a:rPr>
              <a:t>  };</a:t>
            </a:r>
          </a:p>
          <a:p>
            <a:r>
              <a:rPr lang="en-US" sz="1200" dirty="0">
                <a:latin typeface="Consolas"/>
                <a:cs typeface="Calibri"/>
              </a:rPr>
              <a:t>  inner();</a:t>
            </a:r>
          </a:p>
          <a:p>
            <a:r>
              <a:rPr lang="en-US" sz="1200" dirty="0">
                <a:latin typeface="Consolas"/>
                <a:cs typeface="Calibri"/>
              </a:rPr>
              <a:t>  </a:t>
            </a:r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z);</a:t>
            </a:r>
          </a:p>
          <a:p>
            <a:r>
              <a:rPr lang="en-US" sz="1200" dirty="0">
                <a:latin typeface="Consolas"/>
                <a:cs typeface="Calibri"/>
              </a:rPr>
              <a:t>};</a:t>
            </a:r>
          </a:p>
          <a:p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Global variable </a:t>
            </a:r>
            <a:r>
              <a:rPr lang="en-US" sz="1200" i="1" dirty="0">
                <a:latin typeface="Consolas"/>
                <a:cs typeface="Calibri"/>
              </a:rPr>
              <a:t>z</a:t>
            </a:r>
            <a:r>
              <a:rPr lang="en-US" sz="1200" dirty="0">
                <a:latin typeface="Consolas"/>
                <a:cs typeface="Calibri"/>
              </a:rPr>
              <a:t> is defined</a:t>
            </a:r>
          </a:p>
          <a:p>
            <a:r>
              <a:rPr lang="en-US" sz="1200" dirty="0">
                <a:latin typeface="Consolas"/>
                <a:cs typeface="Calibri"/>
              </a:rPr>
              <a:t>// on </a:t>
            </a:r>
            <a:r>
              <a:rPr lang="en-US" sz="1200" i="1" dirty="0">
                <a:latin typeface="Consolas"/>
                <a:cs typeface="Calibri"/>
              </a:rPr>
              <a:t>sample’s</a:t>
            </a:r>
            <a:r>
              <a:rPr lang="en-US" sz="1200" dirty="0">
                <a:latin typeface="Consolas"/>
                <a:cs typeface="Calibri"/>
              </a:rPr>
              <a:t> inner scope because</a:t>
            </a:r>
          </a:p>
          <a:p>
            <a:r>
              <a:rPr lang="en-US" sz="1200" dirty="0">
                <a:latin typeface="Consolas"/>
                <a:cs typeface="Calibri"/>
              </a:rPr>
              <a:t>// it is defined just before it is</a:t>
            </a:r>
          </a:p>
          <a:p>
            <a:r>
              <a:rPr lang="en-US" sz="1200" dirty="0">
                <a:latin typeface="Consolas"/>
                <a:cs typeface="Calibri"/>
              </a:rPr>
              <a:t>// invoked – remember JS is </a:t>
            </a:r>
            <a:r>
              <a:rPr lang="en-US" sz="1200" i="1" dirty="0">
                <a:latin typeface="Consolas"/>
                <a:cs typeface="Calibri"/>
              </a:rPr>
              <a:t>lexically</a:t>
            </a:r>
          </a:p>
          <a:p>
            <a:r>
              <a:rPr lang="en-US" sz="1200" dirty="0">
                <a:latin typeface="Consolas"/>
                <a:cs typeface="Calibri"/>
              </a:rPr>
              <a:t>// </a:t>
            </a:r>
            <a:r>
              <a:rPr lang="en-US" sz="1200" i="1" dirty="0">
                <a:latin typeface="Consolas"/>
                <a:cs typeface="Calibri"/>
              </a:rPr>
              <a:t>scoped</a:t>
            </a:r>
          </a:p>
          <a:p>
            <a:r>
              <a:rPr lang="en-US" sz="1200" dirty="0">
                <a:latin typeface="Consolas"/>
                <a:cs typeface="Calibri"/>
              </a:rPr>
              <a:t>let z = 20;</a:t>
            </a:r>
          </a:p>
          <a:p>
            <a:r>
              <a:rPr lang="en-US" sz="1200" dirty="0">
                <a:latin typeface="Consolas"/>
                <a:cs typeface="Calibri"/>
              </a:rPr>
              <a:t>sample(100);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A4B61F12-E353-9641-BEFD-4971D1B3BE9D}"/>
              </a:ext>
            </a:extLst>
          </p:cNvPr>
          <p:cNvSpPr/>
          <p:nvPr/>
        </p:nvSpPr>
        <p:spPr>
          <a:xfrm>
            <a:off x="248877" y="1730966"/>
            <a:ext cx="4007438" cy="431060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nsolas"/>
                <a:cs typeface="Calibri"/>
              </a:rPr>
              <a:t>// This function causes a </a:t>
            </a:r>
            <a:r>
              <a:rPr lang="en-US" sz="1200" i="1" dirty="0" err="1">
                <a:latin typeface="Consolas"/>
                <a:cs typeface="Calibri"/>
              </a:rPr>
              <a:t>ReferenceError</a:t>
            </a:r>
            <a:endParaRPr lang="en-US" sz="1200" dirty="0">
              <a:latin typeface="Consolas"/>
              <a:cs typeface="Calibri"/>
            </a:endParaRPr>
          </a:p>
          <a:p>
            <a:r>
              <a:rPr lang="en-US" sz="1200" dirty="0">
                <a:latin typeface="Consolas"/>
                <a:cs typeface="Calibri"/>
              </a:rPr>
              <a:t>// because it’s using </a:t>
            </a:r>
            <a:r>
              <a:rPr lang="en-US" sz="1200" i="1" dirty="0">
                <a:latin typeface="Consolas"/>
                <a:cs typeface="Calibri"/>
              </a:rPr>
              <a:t>strict mode</a:t>
            </a:r>
            <a:r>
              <a:rPr lang="en-US" sz="1200" dirty="0">
                <a:latin typeface="Consolas"/>
                <a:cs typeface="Calibri"/>
              </a:rPr>
              <a:t> and </a:t>
            </a:r>
            <a:r>
              <a:rPr lang="en-US" sz="1200" i="1" dirty="0">
                <a:latin typeface="Consolas"/>
                <a:cs typeface="Calibri"/>
              </a:rPr>
              <a:t>y</a:t>
            </a:r>
            <a:r>
              <a:rPr lang="en-US" sz="1200" dirty="0">
                <a:latin typeface="Consolas"/>
                <a:cs typeface="Calibri"/>
              </a:rPr>
              <a:t> </a:t>
            </a:r>
          </a:p>
          <a:p>
            <a:r>
              <a:rPr lang="en-US" sz="1200" dirty="0">
                <a:latin typeface="Consolas"/>
                <a:cs typeface="Calibri"/>
              </a:rPr>
              <a:t>// has not been defined</a:t>
            </a:r>
          </a:p>
          <a:p>
            <a:r>
              <a:rPr lang="en-US" sz="1200" dirty="0">
                <a:latin typeface="Consolas"/>
                <a:cs typeface="Calibri"/>
              </a:rPr>
              <a:t>const scoped = function() {</a:t>
            </a:r>
          </a:p>
          <a:p>
            <a:r>
              <a:rPr lang="en-US" sz="1200" dirty="0">
                <a:latin typeface="Consolas"/>
                <a:cs typeface="Calibri"/>
              </a:rPr>
              <a:t>  ‘use strict’</a:t>
            </a:r>
          </a:p>
          <a:p>
            <a:r>
              <a:rPr lang="en-US" sz="1200" dirty="0">
                <a:latin typeface="Consolas"/>
                <a:cs typeface="Calibri"/>
              </a:rPr>
              <a:t>  try {</a:t>
            </a:r>
          </a:p>
          <a:p>
            <a:r>
              <a:rPr lang="en-US" sz="1200" dirty="0">
                <a:latin typeface="Consolas"/>
                <a:cs typeface="Calibri"/>
              </a:rPr>
              <a:t>    y = 1;</a:t>
            </a:r>
          </a:p>
          <a:p>
            <a:r>
              <a:rPr lang="en-US" sz="1200" dirty="0">
                <a:latin typeface="Consolas"/>
                <a:cs typeface="Calibri"/>
              </a:rPr>
              <a:t>    </a:t>
            </a:r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y);</a:t>
            </a:r>
          </a:p>
          <a:p>
            <a:r>
              <a:rPr lang="en-US" sz="1200" dirty="0">
                <a:latin typeface="Consolas"/>
                <a:cs typeface="Calibri"/>
              </a:rPr>
              <a:t>  } catch (err) {</a:t>
            </a:r>
          </a:p>
          <a:p>
            <a:r>
              <a:rPr lang="en-US" sz="1200" dirty="0">
                <a:latin typeface="Consolas"/>
                <a:cs typeface="Calibri"/>
              </a:rPr>
              <a:t>    </a:t>
            </a:r>
            <a:r>
              <a:rPr lang="en-US" sz="1200" dirty="0" err="1">
                <a:latin typeface="Consolas"/>
                <a:cs typeface="Calibri"/>
              </a:rPr>
              <a:t>console.error</a:t>
            </a:r>
            <a:r>
              <a:rPr lang="en-US" sz="1200" dirty="0">
                <a:latin typeface="Consolas"/>
                <a:cs typeface="Calibri"/>
              </a:rPr>
              <a:t>(err);</a:t>
            </a:r>
          </a:p>
          <a:p>
            <a:r>
              <a:rPr lang="en-US" sz="1200" dirty="0">
                <a:latin typeface="Consolas"/>
                <a:cs typeface="Calibri"/>
              </a:rPr>
              <a:t>  }</a:t>
            </a:r>
          </a:p>
          <a:p>
            <a:r>
              <a:rPr lang="en-US" sz="1200" dirty="0">
                <a:latin typeface="Consolas"/>
                <a:cs typeface="Calibri"/>
              </a:rPr>
              <a:t>};</a:t>
            </a:r>
          </a:p>
          <a:p>
            <a:r>
              <a:rPr lang="en-US" sz="1200" dirty="0">
                <a:latin typeface="Consolas"/>
                <a:cs typeface="Calibri"/>
              </a:rPr>
              <a:t>// The following example </a:t>
            </a:r>
            <a:r>
              <a:rPr lang="en-US" sz="1200" i="1" dirty="0">
                <a:latin typeface="Consolas"/>
                <a:cs typeface="Calibri"/>
              </a:rPr>
              <a:t>shadows</a:t>
            </a:r>
            <a:r>
              <a:rPr lang="en-US" sz="1200" dirty="0">
                <a:latin typeface="Consolas"/>
                <a:cs typeface="Calibri"/>
              </a:rPr>
              <a:t> the </a:t>
            </a:r>
            <a:r>
              <a:rPr lang="en-US" sz="1200" i="1" dirty="0">
                <a:latin typeface="Consolas"/>
                <a:cs typeface="Calibri"/>
              </a:rPr>
              <a:t>x</a:t>
            </a:r>
          </a:p>
          <a:p>
            <a:r>
              <a:rPr lang="en-US" sz="1200" dirty="0">
                <a:latin typeface="Consolas"/>
                <a:cs typeface="Calibri"/>
              </a:rPr>
              <a:t>// variable. Changes will not be reflected </a:t>
            </a:r>
          </a:p>
          <a:p>
            <a:r>
              <a:rPr lang="en-US" sz="1200" dirty="0">
                <a:latin typeface="Consolas"/>
                <a:cs typeface="Calibri"/>
              </a:rPr>
              <a:t>// on the outer scope.</a:t>
            </a:r>
          </a:p>
          <a:p>
            <a:r>
              <a:rPr lang="en-US" sz="1200" dirty="0">
                <a:latin typeface="Consolas"/>
                <a:cs typeface="Calibri"/>
              </a:rPr>
              <a:t>const x = 100;</a:t>
            </a:r>
          </a:p>
          <a:p>
            <a:r>
              <a:rPr lang="en-US" sz="1200" dirty="0">
                <a:latin typeface="Consolas"/>
                <a:cs typeface="Calibri"/>
              </a:rPr>
              <a:t>const sample = function() {</a:t>
            </a:r>
          </a:p>
          <a:p>
            <a:r>
              <a:rPr lang="en-US" sz="1200" dirty="0">
                <a:latin typeface="Consolas"/>
                <a:cs typeface="Calibri"/>
              </a:rPr>
              <a:t>  let x = 50;</a:t>
            </a:r>
          </a:p>
          <a:p>
            <a:r>
              <a:rPr lang="en-US" sz="1200" dirty="0">
                <a:latin typeface="Consolas"/>
                <a:cs typeface="Calibri"/>
              </a:rPr>
              <a:t>  x -= 25;</a:t>
            </a:r>
          </a:p>
          <a:p>
            <a:r>
              <a:rPr lang="en-US" sz="1200" dirty="0">
                <a:latin typeface="Consolas"/>
                <a:cs typeface="Calibri"/>
              </a:rPr>
              <a:t>  </a:t>
            </a:r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x);</a:t>
            </a:r>
          </a:p>
          <a:p>
            <a:r>
              <a:rPr lang="en-US" sz="1200" dirty="0">
                <a:latin typeface="Consolas"/>
                <a:cs typeface="Calibri"/>
              </a:rPr>
              <a:t>};</a:t>
            </a:r>
          </a:p>
          <a:p>
            <a:r>
              <a:rPr lang="en-US" sz="1200" dirty="0">
                <a:latin typeface="Consolas"/>
                <a:cs typeface="Calibri"/>
              </a:rPr>
              <a:t>sample();</a:t>
            </a:r>
          </a:p>
          <a:p>
            <a:r>
              <a:rPr lang="en-US" sz="1200" dirty="0" err="1">
                <a:latin typeface="Consolas"/>
                <a:cs typeface="Calibri"/>
              </a:rPr>
              <a:t>console.log</a:t>
            </a:r>
            <a:r>
              <a:rPr lang="en-US" sz="1200" dirty="0">
                <a:latin typeface="Consolas"/>
                <a:cs typeface="Calibri"/>
              </a:rPr>
              <a:t>(x);</a:t>
            </a:r>
          </a:p>
        </p:txBody>
      </p:sp>
    </p:spTree>
    <p:extLst>
      <p:ext uri="{BB962C8B-B14F-4D97-AF65-F5344CB8AC3E}">
        <p14:creationId xmlns:p14="http://schemas.microsoft.com/office/powerpoint/2010/main" val="537175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0253" y="1553"/>
          <a:ext cx="2067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5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253" y="1553"/>
                        <a:ext cx="2067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14" y="-87674"/>
            <a:ext cx="12209914" cy="1081071"/>
          </a:xfrm>
          <a:prstGeom prst="rect">
            <a:avLst/>
          </a:prstGeom>
        </p:spPr>
      </p:pic>
      <p:grpSp>
        <p:nvGrpSpPr>
          <p:cNvPr id="25" name="Agrupar 2"/>
          <p:cNvGrpSpPr/>
          <p:nvPr/>
        </p:nvGrpSpPr>
        <p:grpSpPr>
          <a:xfrm>
            <a:off x="-36863" y="-352911"/>
            <a:ext cx="12247811" cy="1358981"/>
            <a:chOff x="-12717" y="-303286"/>
            <a:chExt cx="24522734" cy="4031321"/>
          </a:xfrm>
        </p:grpSpPr>
        <p:pic>
          <p:nvPicPr>
            <p:cNvPr id="43" name="Imagen 42"/>
            <p:cNvPicPr>
              <a:picLocks noChangeAspect="1"/>
            </p:cNvPicPr>
            <p:nvPr/>
          </p:nvPicPr>
          <p:blipFill rotWithShape="1">
            <a:blip r:embed="rId8" cstate="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8354" y="-303286"/>
              <a:ext cx="24518371" cy="3993726"/>
            </a:xfrm>
            <a:prstGeom prst="rect">
              <a:avLst/>
            </a:prstGeom>
          </p:spPr>
        </p:pic>
        <p:sp>
          <p:nvSpPr>
            <p:cNvPr id="44" name="18 Rectángulo"/>
            <p:cNvSpPr/>
            <p:nvPr/>
          </p:nvSpPr>
          <p:spPr>
            <a:xfrm rot="10800000" flipH="1">
              <a:off x="-8845" y="-80566"/>
              <a:ext cx="24518862" cy="380057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9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674">
                <a:solidFill>
                  <a:prstClr val="white"/>
                </a:solidFill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1 Rectángulo"/>
            <p:cNvSpPr/>
            <p:nvPr/>
          </p:nvSpPr>
          <p:spPr>
            <a:xfrm rot="10800000">
              <a:off x="-12717" y="-23278"/>
              <a:ext cx="24462177" cy="3751313"/>
            </a:xfrm>
            <a:prstGeom prst="rect">
              <a:avLst/>
            </a:prstGeom>
            <a:gradFill flip="none" rotWithShape="1">
              <a:gsLst>
                <a:gs pos="0">
                  <a:srgbClr val="3AA6AF">
                    <a:alpha val="50000"/>
                  </a:srgbClr>
                </a:gs>
                <a:gs pos="100000">
                  <a:srgbClr val="72BA95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99">
                <a:latin typeface="Century Gothic" panose="020B0502020202020204" pitchFamily="34" charset="0"/>
                <a:ea typeface="Helvetica Neue" charset="0"/>
                <a:cs typeface="Helvetica Neue" charset="0"/>
              </a:endParaRPr>
            </a:p>
          </p:txBody>
        </p:sp>
      </p:grpSp>
      <p:sp>
        <p:nvSpPr>
          <p:cNvPr id="46" name="7 CuadroTexto"/>
          <p:cNvSpPr txBox="1"/>
          <p:nvPr/>
        </p:nvSpPr>
        <p:spPr>
          <a:xfrm>
            <a:off x="8957" y="5835"/>
            <a:ext cx="12192000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US" sz="3200" spc="150">
                <a:solidFill>
                  <a:schemeClr val="bg1"/>
                </a:solidFill>
                <a:latin typeface="Century Gothic"/>
              </a:rPr>
              <a:t>Introduction</a:t>
            </a:r>
            <a:endParaRPr lang="es-ES"/>
          </a:p>
        </p:txBody>
      </p:sp>
      <p:sp>
        <p:nvSpPr>
          <p:cNvPr id="48" name="AutoShape 2" descr="Resultado de imagen de google analytics logo"/>
          <p:cNvSpPr>
            <a:spLocks noChangeAspect="1" noChangeArrowheads="1"/>
          </p:cNvSpPr>
          <p:nvPr/>
        </p:nvSpPr>
        <p:spPr bwMode="auto">
          <a:xfrm>
            <a:off x="77701" y="-157657"/>
            <a:ext cx="152232" cy="15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5669" tIns="22835" rIns="45669" bIns="22835" numCol="1" anchor="t" anchorCtr="0" compatLnSpc="1">
            <a:prstTxWarp prst="textNoShape">
              <a:avLst/>
            </a:prstTxWarp>
          </a:bodyPr>
          <a:lstStyle/>
          <a:p>
            <a:endParaRPr lang="es-ES" sz="899">
              <a:latin typeface="Century Gothic" panose="020B0502020202020204" pitchFamily="34" charset="0"/>
            </a:endParaRPr>
          </a:p>
        </p:txBody>
      </p:sp>
      <p:pic>
        <p:nvPicPr>
          <p:cNvPr id="66" name="Imagen 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4108" y="4454323"/>
            <a:ext cx="719284" cy="2624699"/>
          </a:xfrm>
          <a:prstGeom prst="rect">
            <a:avLst/>
          </a:prstGeom>
        </p:spPr>
      </p:pic>
      <p:pic>
        <p:nvPicPr>
          <p:cNvPr id="13" name="Picture 5" descr="\\usersad.everis.int\enterprise_files\Spain\Madrid\Proyectos\Customer Experience\1.Cosas Diseño\11 - Logos everis NTT DATA\eve+ntt_logo_invertido-blanc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917" y="93404"/>
            <a:ext cx="1210716" cy="6745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7BD50C13-A712-406E-8E16-C9230DE49BA2}"/>
              </a:ext>
            </a:extLst>
          </p:cNvPr>
          <p:cNvSpPr/>
          <p:nvPr/>
        </p:nvSpPr>
        <p:spPr>
          <a:xfrm>
            <a:off x="348343" y="1193522"/>
            <a:ext cx="11610439" cy="55710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ct val="20000"/>
              </a:spcBef>
            </a:pPr>
            <a:r>
              <a:rPr lang="en-US" sz="2000" b="1" dirty="0">
                <a:latin typeface="Century Gothic"/>
              </a:rPr>
              <a:t>Features: Error management</a:t>
            </a:r>
          </a:p>
          <a:p>
            <a:pPr>
              <a:spcBef>
                <a:spcPct val="20000"/>
              </a:spcBef>
            </a:pPr>
            <a:r>
              <a:rPr lang="en-US" sz="1600" dirty="0">
                <a:latin typeface="Century Gothic"/>
              </a:rPr>
              <a:t>As in other languages, </a:t>
            </a:r>
            <a:r>
              <a:rPr lang="en-US" sz="1600" b="1" i="1" dirty="0">
                <a:latin typeface="Century Gothic"/>
              </a:rPr>
              <a:t>JavaScript</a:t>
            </a:r>
            <a:r>
              <a:rPr lang="en-US" sz="1600" b="1" dirty="0">
                <a:latin typeface="Century Gothic"/>
              </a:rPr>
              <a:t> provides </a:t>
            </a:r>
            <a:r>
              <a:rPr lang="en-US" sz="1600" b="1" i="1" dirty="0">
                <a:latin typeface="Century Gothic"/>
              </a:rPr>
              <a:t>throw</a:t>
            </a:r>
            <a:r>
              <a:rPr lang="en-US" sz="1600" b="1" dirty="0">
                <a:latin typeface="Century Gothic"/>
              </a:rPr>
              <a:t>, </a:t>
            </a:r>
            <a:r>
              <a:rPr lang="en-US" sz="1600" b="1" i="1" dirty="0">
                <a:latin typeface="Century Gothic"/>
              </a:rPr>
              <a:t>try</a:t>
            </a:r>
            <a:r>
              <a:rPr lang="en-US" sz="1600" b="1" dirty="0">
                <a:latin typeface="Century Gothic"/>
              </a:rPr>
              <a:t>, </a:t>
            </a:r>
            <a:r>
              <a:rPr lang="en-US" sz="1600" b="1" i="1" dirty="0">
                <a:latin typeface="Century Gothic"/>
              </a:rPr>
              <a:t>catch</a:t>
            </a:r>
            <a:r>
              <a:rPr lang="en-US" sz="1600" b="1" dirty="0">
                <a:latin typeface="Century Gothic"/>
              </a:rPr>
              <a:t> and </a:t>
            </a:r>
            <a:r>
              <a:rPr lang="en-US" sz="1600" b="1" i="1" dirty="0">
                <a:latin typeface="Century Gothic"/>
              </a:rPr>
              <a:t>finally</a:t>
            </a:r>
            <a:r>
              <a:rPr lang="en-US" sz="1600" b="1" dirty="0">
                <a:latin typeface="Century Gothic"/>
              </a:rPr>
              <a:t> constructs </a:t>
            </a:r>
            <a:r>
              <a:rPr lang="en-US" sz="1600" dirty="0">
                <a:latin typeface="Century Gothic"/>
              </a:rPr>
              <a:t>that can be </a:t>
            </a:r>
          </a:p>
          <a:p>
            <a:pPr>
              <a:spcBef>
                <a:spcPct val="20000"/>
              </a:spcBef>
            </a:pPr>
            <a:r>
              <a:rPr lang="en-US" sz="1600" dirty="0">
                <a:latin typeface="Century Gothic"/>
              </a:rPr>
              <a:t>leveraged to handle and react to errors. While any kind of value or object can be </a:t>
            </a:r>
            <a:r>
              <a:rPr lang="en-US" sz="1600" i="1" dirty="0">
                <a:latin typeface="Century Gothic"/>
              </a:rPr>
              <a:t>thrown</a:t>
            </a:r>
            <a:r>
              <a:rPr lang="en-US" sz="1600" dirty="0">
                <a:latin typeface="Century Gothic"/>
              </a:rPr>
              <a:t>, there is an </a:t>
            </a:r>
          </a:p>
          <a:p>
            <a:pPr>
              <a:spcBef>
                <a:spcPct val="20000"/>
              </a:spcBef>
            </a:pPr>
            <a:r>
              <a:rPr lang="en-US" sz="1600" i="1" dirty="0">
                <a:latin typeface="Century Gothic"/>
              </a:rPr>
              <a:t>Error</a:t>
            </a:r>
            <a:r>
              <a:rPr lang="en-US" sz="1600" dirty="0">
                <a:latin typeface="Century Gothic"/>
              </a:rPr>
              <a:t> object that can be used to define custom errors with their own </a:t>
            </a:r>
            <a:r>
              <a:rPr lang="en-US" sz="1600" i="1" dirty="0">
                <a:latin typeface="Century Gothic"/>
              </a:rPr>
              <a:t>name</a:t>
            </a:r>
            <a:r>
              <a:rPr lang="en-US" sz="1600" dirty="0">
                <a:latin typeface="Century Gothic"/>
              </a:rPr>
              <a:t>, enabling developers to </a:t>
            </a:r>
          </a:p>
          <a:p>
            <a:pPr>
              <a:spcBef>
                <a:spcPct val="20000"/>
              </a:spcBef>
            </a:pPr>
            <a:r>
              <a:rPr lang="en-US" sz="1600" dirty="0">
                <a:latin typeface="Century Gothic"/>
              </a:rPr>
              <a:t>implement fine-grained error management if required.</a:t>
            </a: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>
              <a:spcBef>
                <a:spcPct val="20000"/>
              </a:spcBef>
            </a:pPr>
            <a:r>
              <a:rPr lang="en-US" sz="1600" dirty="0">
                <a:latin typeface="Century Gothic"/>
              </a:rPr>
              <a:t>However, traditional error management is not suited for </a:t>
            </a:r>
            <a:r>
              <a:rPr lang="en-US" sz="1600" i="1" dirty="0">
                <a:latin typeface="Century Gothic"/>
              </a:rPr>
              <a:t>JavaScript’s</a:t>
            </a:r>
            <a:r>
              <a:rPr lang="en-US" sz="1600" dirty="0">
                <a:latin typeface="Century Gothic"/>
              </a:rPr>
              <a:t> asynchronous constructs such as </a:t>
            </a:r>
            <a:r>
              <a:rPr lang="en-US" sz="1600" i="1" dirty="0">
                <a:latin typeface="Century Gothic"/>
              </a:rPr>
              <a:t>callbacks</a:t>
            </a:r>
            <a:r>
              <a:rPr lang="en-US" sz="1600" dirty="0">
                <a:latin typeface="Century Gothic"/>
              </a:rPr>
              <a:t>, </a:t>
            </a:r>
            <a:r>
              <a:rPr lang="en-US" sz="1600" i="1" dirty="0">
                <a:latin typeface="Century Gothic"/>
              </a:rPr>
              <a:t>events</a:t>
            </a:r>
            <a:r>
              <a:rPr lang="en-US" sz="1600" dirty="0">
                <a:latin typeface="Century Gothic"/>
              </a:rPr>
              <a:t> or </a:t>
            </a:r>
            <a:r>
              <a:rPr lang="en-US" sz="1600" i="1" dirty="0">
                <a:latin typeface="Century Gothic"/>
              </a:rPr>
              <a:t>promises</a:t>
            </a:r>
            <a:r>
              <a:rPr lang="en-US" sz="1600" dirty="0">
                <a:latin typeface="Century Gothic"/>
              </a:rPr>
              <a:t>. For these, there’s different mechanisms we can use:</a:t>
            </a:r>
          </a:p>
          <a:p>
            <a:pPr>
              <a:spcBef>
                <a:spcPct val="20000"/>
              </a:spcBef>
            </a:pPr>
            <a:endParaRPr lang="en-US" sz="1600" dirty="0">
              <a:latin typeface="Century Gothic"/>
            </a:endParaRP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Century Gothic"/>
              </a:rPr>
              <a:t>General convention for </a:t>
            </a:r>
            <a:r>
              <a:rPr lang="en-US" sz="1600" i="1" dirty="0">
                <a:latin typeface="Century Gothic"/>
              </a:rPr>
              <a:t>callbacks</a:t>
            </a:r>
            <a:r>
              <a:rPr lang="en-US" sz="1600" dirty="0">
                <a:latin typeface="Century Gothic"/>
              </a:rPr>
              <a:t> is that the first argument they receive is the error object, in case there was an error during the execution, or </a:t>
            </a:r>
            <a:r>
              <a:rPr lang="en-US" sz="1600" i="1" dirty="0">
                <a:latin typeface="Century Gothic"/>
              </a:rPr>
              <a:t>null</a:t>
            </a:r>
            <a:r>
              <a:rPr lang="en-US" sz="1600" dirty="0">
                <a:latin typeface="Century Gothic"/>
              </a:rPr>
              <a:t> in case there was no error. Since it is a convention, it is critical for all developers to follow said convention in order to keep things common for everyone.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Century Gothic"/>
              </a:rPr>
              <a:t>In the case of </a:t>
            </a:r>
            <a:r>
              <a:rPr lang="en-US" sz="1600" i="1" dirty="0">
                <a:latin typeface="Century Gothic"/>
              </a:rPr>
              <a:t>events</a:t>
            </a:r>
            <a:r>
              <a:rPr lang="en-US" sz="1600" dirty="0">
                <a:latin typeface="Century Gothic"/>
              </a:rPr>
              <a:t>, most emitters usually provide an </a:t>
            </a:r>
            <a:r>
              <a:rPr lang="en-US" sz="1600" i="1" dirty="0">
                <a:latin typeface="Century Gothic"/>
              </a:rPr>
              <a:t>error</a:t>
            </a:r>
            <a:r>
              <a:rPr lang="en-US" sz="1600" dirty="0">
                <a:latin typeface="Century Gothic"/>
              </a:rPr>
              <a:t> event which is emitted whenever an execution error occurs.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Century Gothic"/>
              </a:rPr>
              <a:t>For </a:t>
            </a:r>
            <a:r>
              <a:rPr lang="en-US" sz="1600" i="1" dirty="0">
                <a:latin typeface="Century Gothic"/>
              </a:rPr>
              <a:t>promises</a:t>
            </a:r>
            <a:r>
              <a:rPr lang="en-US" sz="1600" dirty="0">
                <a:latin typeface="Century Gothic"/>
              </a:rPr>
              <a:t>, there’s a </a:t>
            </a:r>
            <a:r>
              <a:rPr lang="en-US" sz="1600" i="1" dirty="0">
                <a:latin typeface="Century Gothic"/>
              </a:rPr>
              <a:t>catch</a:t>
            </a:r>
            <a:r>
              <a:rPr lang="en-US" sz="1600" dirty="0">
                <a:latin typeface="Century Gothic"/>
              </a:rPr>
              <a:t> function that can be used to bind an error handler callback.</a:t>
            </a:r>
            <a:br>
              <a:rPr lang="en-US" sz="1600" dirty="0">
                <a:latin typeface="Century Gothic"/>
              </a:rPr>
            </a:br>
            <a:r>
              <a:rPr lang="en-US" sz="1600" dirty="0">
                <a:latin typeface="Century Gothic"/>
              </a:rPr>
              <a:t>In a later section, we will delve into how </a:t>
            </a:r>
            <a:r>
              <a:rPr lang="en-US" sz="1600" i="1" dirty="0">
                <a:latin typeface="Century Gothic"/>
              </a:rPr>
              <a:t>async/await</a:t>
            </a:r>
            <a:r>
              <a:rPr lang="en-US" sz="1600" dirty="0">
                <a:latin typeface="Century Gothic"/>
              </a:rPr>
              <a:t> can leverage traditional </a:t>
            </a:r>
            <a:r>
              <a:rPr lang="en-US" sz="1600" i="1" dirty="0">
                <a:latin typeface="Century Gothic"/>
              </a:rPr>
              <a:t>try</a:t>
            </a:r>
            <a:r>
              <a:rPr lang="en-US" sz="1600" dirty="0">
                <a:latin typeface="Century Gothic"/>
              </a:rPr>
              <a:t>/</a:t>
            </a:r>
            <a:r>
              <a:rPr lang="en-US" sz="1600" i="1" dirty="0">
                <a:latin typeface="Century Gothic"/>
              </a:rPr>
              <a:t>catch</a:t>
            </a:r>
            <a:r>
              <a:rPr lang="en-US" sz="1600" dirty="0">
                <a:latin typeface="Century Gothic"/>
              </a:rPr>
              <a:t> blocks to handle errors, despite of their </a:t>
            </a:r>
            <a:r>
              <a:rPr lang="en-US" sz="1600" i="1" dirty="0">
                <a:latin typeface="Century Gothic"/>
              </a:rPr>
              <a:t>asynchronous </a:t>
            </a:r>
            <a:r>
              <a:rPr lang="en-US" sz="1600" dirty="0">
                <a:latin typeface="Century Gothic"/>
              </a:rPr>
              <a:t>nature.</a:t>
            </a:r>
          </a:p>
        </p:txBody>
      </p:sp>
      <p:pic>
        <p:nvPicPr>
          <p:cNvPr id="41537" name="Picture 577">
            <a:extLst>
              <a:ext uri="{FF2B5EF4-FFF2-40B4-BE49-F238E27FC236}">
                <a16:creationId xmlns:a16="http://schemas.microsoft.com/office/drawing/2014/main" id="{468E00A5-3FA0-A848-B9BF-6487463C30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0" y="1096874"/>
            <a:ext cx="1268184" cy="1268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angle 23">
            <a:extLst>
              <a:ext uri="{FF2B5EF4-FFF2-40B4-BE49-F238E27FC236}">
                <a16:creationId xmlns:a16="http://schemas.microsoft.com/office/drawing/2014/main" id="{D17781F2-1020-4343-B88F-03234841DEB0}"/>
              </a:ext>
            </a:extLst>
          </p:cNvPr>
          <p:cNvSpPr/>
          <p:nvPr/>
        </p:nvSpPr>
        <p:spPr>
          <a:xfrm>
            <a:off x="2224315" y="605383"/>
            <a:ext cx="7761284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Century Gothic"/>
              </a:rPr>
              <a:t>JavaScript</a:t>
            </a:r>
            <a:endParaRPr lang="es-ES" i="1" dirty="0"/>
          </a:p>
        </p:txBody>
      </p:sp>
    </p:spTree>
    <p:extLst>
      <p:ext uri="{BB962C8B-B14F-4D97-AF65-F5344CB8AC3E}">
        <p14:creationId xmlns:p14="http://schemas.microsoft.com/office/powerpoint/2010/main" val="1019817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ZcWcA9xEig.kVe72TE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FDFA0D424492F4488FD19F0313A4A8E" ma:contentTypeVersion="2" ma:contentTypeDescription="Crear nuevo documento." ma:contentTypeScope="" ma:versionID="c9e4fe2a8c34652cf4c0fd2629fb7734">
  <xsd:schema xmlns:xsd="http://www.w3.org/2001/XMLSchema" xmlns:xs="http://www.w3.org/2001/XMLSchema" xmlns:p="http://schemas.microsoft.com/office/2006/metadata/properties" xmlns:ns2="70b275a6-ebc4-4329-823d-2f0b076e2e90" targetNamespace="http://schemas.microsoft.com/office/2006/metadata/properties" ma:root="true" ma:fieldsID="45c27117192baf799102cb6f155286e4" ns2:_="">
    <xsd:import namespace="70b275a6-ebc4-4329-823d-2f0b076e2e9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b275a6-ebc4-4329-823d-2f0b076e2e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887B398-6F69-4596-B747-F4443ED8993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BE8D0B7-5162-41EA-8FFF-09AC3CCD2764}">
  <ds:schemaRefs>
    <ds:schemaRef ds:uri="3b5cbd70-4536-4d86-a81c-1376e5bb715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253CEF7-099C-417F-AB52-3D54EC30A9AB}"/>
</file>

<file path=docProps/app.xml><?xml version="1.0" encoding="utf-8"?>
<Properties xmlns="http://schemas.openxmlformats.org/officeDocument/2006/extended-properties" xmlns:vt="http://schemas.openxmlformats.org/officeDocument/2006/docPropsVTypes">
  <TotalTime>838</TotalTime>
  <Words>5996</Words>
  <Application>Microsoft Macintosh PowerPoint</Application>
  <PresentationFormat>Panorámica</PresentationFormat>
  <Paragraphs>879</Paragraphs>
  <Slides>34</Slides>
  <Notes>32</Notes>
  <HiddenSlides>1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4</vt:i4>
      </vt:variant>
    </vt:vector>
  </HeadingPairs>
  <TitlesOfParts>
    <vt:vector size="43" baseType="lpstr">
      <vt:lpstr>Arial</vt:lpstr>
      <vt:lpstr>Calibri</vt:lpstr>
      <vt:lpstr>Calibri Light</vt:lpstr>
      <vt:lpstr>Century Gothic</vt:lpstr>
      <vt:lpstr>Consolas</vt:lpstr>
      <vt:lpstr>Courier New</vt:lpstr>
      <vt:lpstr>Wingdings</vt:lpstr>
      <vt:lpstr>Tema de Offic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everis I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Sergio Paños Hernandez</dc:creator>
  <cp:lastModifiedBy>Daniel Amores Alvarez</cp:lastModifiedBy>
  <cp:revision>648</cp:revision>
  <dcterms:created xsi:type="dcterms:W3CDTF">2017-05-23T11:06:23Z</dcterms:created>
  <dcterms:modified xsi:type="dcterms:W3CDTF">2020-12-09T11:29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DFA0D424492F4488FD19F0313A4A8E</vt:lpwstr>
  </property>
  <property fmtid="{D5CDD505-2E9C-101B-9397-08002B2CF9AE}" pid="3" name="AuthorIds_UIVersion_9216">
    <vt:lpwstr>6</vt:lpwstr>
  </property>
</Properties>
</file>